
<file path=[Content_Types].xml><?xml version="1.0" encoding="utf-8"?>
<Types xmlns="http://schemas.openxmlformats.org/package/2006/content-types"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tiff" ContentType="image/tiff"/>
  <Default Extension="jpg" ContentType="image/jpeg"/>
  <Default Extension="mp4" ContentType="video/mp4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1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87" r:id="rId1"/>
    <p:sldMasterId id="2147483701" r:id="rId2"/>
  </p:sldMasterIdLst>
  <p:notesMasterIdLst>
    <p:notesMasterId r:id="rId30"/>
  </p:notesMasterIdLst>
  <p:sldIdLst>
    <p:sldId id="256" r:id="rId3"/>
    <p:sldId id="281" r:id="rId4"/>
    <p:sldId id="289" r:id="rId5"/>
    <p:sldId id="290" r:id="rId6"/>
    <p:sldId id="291" r:id="rId7"/>
    <p:sldId id="293" r:id="rId8"/>
    <p:sldId id="294" r:id="rId9"/>
    <p:sldId id="295" r:id="rId10"/>
    <p:sldId id="308" r:id="rId11"/>
    <p:sldId id="323" r:id="rId12"/>
    <p:sldId id="328" r:id="rId13"/>
    <p:sldId id="304" r:id="rId14"/>
    <p:sldId id="301" r:id="rId15"/>
    <p:sldId id="302" r:id="rId16"/>
    <p:sldId id="303" r:id="rId17"/>
    <p:sldId id="310" r:id="rId18"/>
    <p:sldId id="305" r:id="rId19"/>
    <p:sldId id="311" r:id="rId20"/>
    <p:sldId id="324" r:id="rId21"/>
    <p:sldId id="313" r:id="rId22"/>
    <p:sldId id="332" r:id="rId23"/>
    <p:sldId id="333" r:id="rId24"/>
    <p:sldId id="335" r:id="rId25"/>
    <p:sldId id="322" r:id="rId26"/>
    <p:sldId id="316" r:id="rId27"/>
    <p:sldId id="318" r:id="rId28"/>
    <p:sldId id="331" r:id="rId29"/>
  </p:sldIdLst>
  <p:sldSz cx="9144000" cy="6858000" type="screen4x3"/>
  <p:notesSz cx="7010400" cy="92964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108"/>
    <p:restoredTop sz="93374" autoAdjust="0"/>
  </p:normalViewPr>
  <p:slideViewPr>
    <p:cSldViewPr snapToGrid="0">
      <p:cViewPr varScale="1">
        <p:scale>
          <a:sx n="89" d="100"/>
          <a:sy n="89" d="100"/>
        </p:scale>
        <p:origin x="1111" y="62"/>
      </p:cViewPr>
      <p:guideLst>
        <p:guide orient="horz" pos="2160"/>
        <p:guide pos="2880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100" d="100"/>
        <a:sy n="100" d="100"/>
      </p:scale>
      <p:origin x="0" y="-1548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34" Type="http://schemas.openxmlformats.org/officeDocument/2006/relationships/tableStyles" Target="tableStyles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slide" Target="slides/slide27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viewProps" Target="viewProp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presProps" Target="presProp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notesMaster" Target="notesMasters/notesMaster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938" y="0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/>
            </a:lvl1pPr>
          </a:lstStyle>
          <a:p>
            <a:fld id="{D77D2E86-F031-41BB-8D7D-39E024C9D199}" type="datetimeFigureOut">
              <a:rPr lang="en-US" smtClean="0"/>
              <a:t>10/24/2017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414463" y="1162050"/>
            <a:ext cx="4181475" cy="31369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177" tIns="46589" rIns="93177" bIns="46589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040" y="4473892"/>
            <a:ext cx="5608320" cy="3660458"/>
          </a:xfrm>
          <a:prstGeom prst="rect">
            <a:avLst/>
          </a:prstGeom>
        </p:spPr>
        <p:txBody>
          <a:bodyPr vert="horz" lIns="93177" tIns="46589" rIns="93177" bIns="46589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967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938" y="8829967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/>
            </a:lvl1pPr>
          </a:lstStyle>
          <a:p>
            <a:fld id="{EE70C1D8-2148-4CCC-AD0F-B34CA776C012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9384707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E70C1D8-2148-4CCC-AD0F-B34CA776C012}" type="slidenum">
              <a:rPr lang="en-US" smtClean="0"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43804091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E70C1D8-2148-4CCC-AD0F-B34CA776C012}" type="slidenum">
              <a:rPr lang="en-US" smtClean="0"/>
              <a:t>2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40423473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E70C1D8-2148-4CCC-AD0F-B34CA776C012}" type="slidenum">
              <a:rPr lang="en-US" smtClean="0"/>
              <a:t>2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6256687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414463" y="1162050"/>
            <a:ext cx="4181475" cy="31369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10"/>
          </p:nvPr>
        </p:nvSpPr>
        <p:spPr/>
        <p:txBody>
          <a:bodyPr/>
          <a:lstStyle/>
          <a:p>
            <a:pPr marL="0" marR="0" lvl="0" indent="0" algn="r" rtl="0">
              <a:spcBef>
                <a:spcPts val="0"/>
              </a:spcBef>
              <a:buSzPct val="25000"/>
              <a:buNone/>
            </a:pPr>
            <a:fld id="{00000000-1234-1234-1234-123412341234}" type="slidenum">
              <a:rPr lang="en-US" sz="1200" b="0" i="0" u="none" strike="noStrike" cap="none" smtClean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3</a:t>
            </a:fld>
            <a:endParaRPr lang="en-US" sz="12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408229827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414463" y="1162050"/>
            <a:ext cx="4181475" cy="31369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10"/>
          </p:nvPr>
        </p:nvSpPr>
        <p:spPr/>
        <p:txBody>
          <a:bodyPr/>
          <a:lstStyle/>
          <a:p>
            <a:pPr marL="0" marR="0" lvl="0" indent="0" algn="r" rtl="0">
              <a:spcBef>
                <a:spcPts val="0"/>
              </a:spcBef>
              <a:buSzPct val="25000"/>
              <a:buNone/>
            </a:pPr>
            <a:fld id="{00000000-1234-1234-1234-123412341234}" type="slidenum">
              <a:rPr lang="en-US" sz="1200" b="0" i="0" u="none" strike="noStrike" cap="none" smtClean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4</a:t>
            </a:fld>
            <a:endParaRPr lang="en-US" sz="12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26180405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414463" y="1162050"/>
            <a:ext cx="4181475" cy="31369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10"/>
          </p:nvPr>
        </p:nvSpPr>
        <p:spPr/>
        <p:txBody>
          <a:bodyPr/>
          <a:lstStyle/>
          <a:p>
            <a:pPr marL="0" marR="0" lvl="0" indent="0" algn="r" rtl="0">
              <a:spcBef>
                <a:spcPts val="0"/>
              </a:spcBef>
              <a:buSzPct val="25000"/>
              <a:buNone/>
            </a:pPr>
            <a:fld id="{00000000-1234-1234-1234-123412341234}" type="slidenum">
              <a:rPr lang="en-US" sz="1200" b="0" i="0" u="none" strike="noStrike" cap="none" smtClean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5</a:t>
            </a:fld>
            <a:endParaRPr lang="en-US" sz="12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15887884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E70C1D8-2148-4CCC-AD0F-B34CA776C012}" type="slidenum">
              <a:rPr lang="en-US" smtClean="0"/>
              <a:t>1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2676320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E70C1D8-2148-4CCC-AD0F-B34CA776C012}" type="slidenum">
              <a:rPr lang="en-US" smtClean="0"/>
              <a:t>2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6247769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E70C1D8-2148-4CCC-AD0F-B34CA776C012}" type="slidenum">
              <a:rPr lang="en-US" smtClean="0"/>
              <a:t>2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1136977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E70C1D8-2148-4CCC-AD0F-B34CA776C012}" type="slidenum">
              <a:rPr lang="en-US" smtClean="0"/>
              <a:t>2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9091262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E70C1D8-2148-4CCC-AD0F-B34CA776C012}" type="slidenum">
              <a:rPr lang="en-US" smtClean="0"/>
              <a:t>2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989407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"/>
            <a:ext cx="9144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266462" y="1279954"/>
            <a:ext cx="7086599" cy="1470025"/>
          </a:xfrm>
        </p:spPr>
        <p:txBody>
          <a:bodyPr/>
          <a:lstStyle>
            <a:lvl1pPr algn="r">
              <a:defRPr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952260" y="2749977"/>
            <a:ext cx="6400800" cy="1752600"/>
          </a:xfrm>
        </p:spPr>
        <p:txBody>
          <a:bodyPr/>
          <a:lstStyle>
            <a:lvl1pPr marL="0" indent="0" algn="r">
              <a:buNone/>
              <a:defRPr>
                <a:solidFill>
                  <a:schemeClr val="bg1"/>
                </a:solidFill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49C345-3D38-4CE2-B9D1-CA2F0BCB7BF5}" type="datetimeFigureOut">
              <a:rPr lang="en-US" smtClean="0"/>
              <a:t>10/24/2017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2876CA8-A819-4C4C-A63B-F34209D849D8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7" name="Rectangle 6"/>
          <p:cNvSpPr/>
          <p:nvPr userDrawn="1"/>
        </p:nvSpPr>
        <p:spPr>
          <a:xfrm>
            <a:off x="249898" y="6094107"/>
            <a:ext cx="971195" cy="62737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i="1" dirty="0" smtClean="0">
                <a:solidFill>
                  <a:schemeClr val="bg1"/>
                </a:solidFill>
                <a:latin typeface="+mn-lt"/>
              </a:rPr>
              <a:t>Institute for Software Integrated Systems</a:t>
            </a:r>
            <a:endParaRPr lang="en-US" sz="1000" i="1" dirty="0">
              <a:solidFill>
                <a:schemeClr val="bg1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59228583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ISIS_PPT_P1_r2.pdf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7959"/>
          <a:stretch/>
        </p:blipFill>
        <p:spPr>
          <a:xfrm>
            <a:off x="0" y="1231602"/>
            <a:ext cx="9144000" cy="5626398"/>
          </a:xfrm>
          <a:prstGeom prst="rect">
            <a:avLst/>
          </a:prstGeom>
        </p:spPr>
      </p:pic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9"/>
            <a:ext cx="2057400" cy="5536982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40"/>
            <a:ext cx="6019800" cy="5536983"/>
          </a:xfrm>
        </p:spPr>
        <p:txBody>
          <a:bodyPr vert="eaVert"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49C345-3D38-4CE2-B9D1-CA2F0BCB7BF5}" type="datetimeFigureOut">
              <a:rPr lang="en-US" smtClean="0"/>
              <a:t>10/24/2017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2876CA8-A819-4C4C-A63B-F34209D849D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9628253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4 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ISIS_PPT_P1_r2.pdf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78418"/>
            <a:ext cx="8229600" cy="783770"/>
          </a:xfrm>
        </p:spPr>
        <p:txBody>
          <a:bodyPr/>
          <a:lstStyle>
            <a:lvl1pPr>
              <a:defRPr>
                <a:solidFill>
                  <a:srgbClr val="0E1C58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1140610"/>
            <a:ext cx="4040188" cy="2143507"/>
          </a:xfrm>
        </p:spPr>
        <p:txBody>
          <a:bodyPr/>
          <a:lstStyle>
            <a:lvl1pPr>
              <a:defRPr sz="1800">
                <a:solidFill>
                  <a:srgbClr val="0E1C58"/>
                </a:solidFill>
              </a:defRPr>
            </a:lvl1pPr>
            <a:lvl2pPr>
              <a:defRPr sz="1500">
                <a:solidFill>
                  <a:srgbClr val="0E1C58"/>
                </a:solidFill>
              </a:defRPr>
            </a:lvl2pPr>
            <a:lvl3pPr>
              <a:defRPr sz="1350">
                <a:solidFill>
                  <a:srgbClr val="0E1C58"/>
                </a:solidFill>
              </a:defRPr>
            </a:lvl3pPr>
            <a:lvl4pPr>
              <a:defRPr sz="1200">
                <a:solidFill>
                  <a:srgbClr val="0E1C58"/>
                </a:solidFill>
              </a:defRPr>
            </a:lvl4pPr>
            <a:lvl5pPr>
              <a:defRPr sz="1200">
                <a:solidFill>
                  <a:srgbClr val="0E1C58"/>
                </a:solidFill>
              </a:defRPr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7" y="1140610"/>
            <a:ext cx="4041775" cy="2143507"/>
          </a:xfrm>
        </p:spPr>
        <p:txBody>
          <a:bodyPr/>
          <a:lstStyle>
            <a:lvl1pPr>
              <a:defRPr sz="1800">
                <a:solidFill>
                  <a:srgbClr val="0E1C58"/>
                </a:solidFill>
              </a:defRPr>
            </a:lvl1pPr>
            <a:lvl2pPr>
              <a:defRPr sz="1500">
                <a:solidFill>
                  <a:srgbClr val="0E1C58"/>
                </a:solidFill>
              </a:defRPr>
            </a:lvl2pPr>
            <a:lvl3pPr>
              <a:defRPr sz="1350">
                <a:solidFill>
                  <a:srgbClr val="0E1C58"/>
                </a:solidFill>
              </a:defRPr>
            </a:lvl3pPr>
            <a:lvl4pPr>
              <a:defRPr sz="1200">
                <a:solidFill>
                  <a:srgbClr val="0E1C58"/>
                </a:solidFill>
              </a:defRPr>
            </a:lvl4pPr>
            <a:lvl5pPr>
              <a:defRPr sz="1200">
                <a:solidFill>
                  <a:srgbClr val="0E1C58"/>
                </a:solidFill>
              </a:defRPr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49C345-3D38-4CE2-B9D1-CA2F0BCB7BF5}" type="datetimeFigureOut">
              <a:rPr lang="en-US" smtClean="0"/>
              <a:t>10/24/2017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2876CA8-A819-4C4C-A63B-F34209D849D8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4" name="Rectangle 13"/>
          <p:cNvSpPr/>
          <p:nvPr/>
        </p:nvSpPr>
        <p:spPr>
          <a:xfrm>
            <a:off x="0" y="5859886"/>
            <a:ext cx="9144000" cy="998114"/>
          </a:xfrm>
          <a:prstGeom prst="rect">
            <a:avLst/>
          </a:prstGeom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sz="1350">
              <a:solidFill>
                <a:prstClr val="black"/>
              </a:solidFill>
            </a:endParaRPr>
          </a:p>
        </p:txBody>
      </p:sp>
      <p:sp>
        <p:nvSpPr>
          <p:cNvPr id="13" name="Content Placeholder 3"/>
          <p:cNvSpPr>
            <a:spLocks noGrp="1"/>
          </p:cNvSpPr>
          <p:nvPr>
            <p:ph sz="half" idx="14"/>
          </p:nvPr>
        </p:nvSpPr>
        <p:spPr>
          <a:xfrm>
            <a:off x="4646613" y="3576938"/>
            <a:ext cx="4040188" cy="2282948"/>
          </a:xfrm>
        </p:spPr>
        <p:txBody>
          <a:bodyPr/>
          <a:lstStyle>
            <a:lvl1pPr>
              <a:defRPr sz="1800">
                <a:solidFill>
                  <a:srgbClr val="0E1C58"/>
                </a:solidFill>
              </a:defRPr>
            </a:lvl1pPr>
            <a:lvl2pPr>
              <a:defRPr sz="1500">
                <a:solidFill>
                  <a:srgbClr val="0E1C58"/>
                </a:solidFill>
              </a:defRPr>
            </a:lvl2pPr>
            <a:lvl3pPr>
              <a:defRPr sz="1350">
                <a:solidFill>
                  <a:srgbClr val="0E1C58"/>
                </a:solidFill>
              </a:defRPr>
            </a:lvl3pPr>
            <a:lvl4pPr>
              <a:defRPr sz="1200">
                <a:solidFill>
                  <a:srgbClr val="0E1C58"/>
                </a:solidFill>
              </a:defRPr>
            </a:lvl4pPr>
            <a:lvl5pPr>
              <a:defRPr sz="1200">
                <a:solidFill>
                  <a:srgbClr val="0E1C58"/>
                </a:solidFill>
              </a:defRPr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1" name="Content Placeholder 3"/>
          <p:cNvSpPr>
            <a:spLocks noGrp="1"/>
          </p:cNvSpPr>
          <p:nvPr>
            <p:ph sz="half" idx="13"/>
          </p:nvPr>
        </p:nvSpPr>
        <p:spPr>
          <a:xfrm>
            <a:off x="457200" y="3576939"/>
            <a:ext cx="4040188" cy="2282949"/>
          </a:xfrm>
        </p:spPr>
        <p:txBody>
          <a:bodyPr/>
          <a:lstStyle>
            <a:lvl1pPr>
              <a:defRPr sz="1800">
                <a:solidFill>
                  <a:srgbClr val="0E1C58"/>
                </a:solidFill>
              </a:defRPr>
            </a:lvl1pPr>
            <a:lvl2pPr>
              <a:defRPr sz="1500">
                <a:solidFill>
                  <a:srgbClr val="0E1C58"/>
                </a:solidFill>
              </a:defRPr>
            </a:lvl2pPr>
            <a:lvl3pPr>
              <a:defRPr sz="1350">
                <a:solidFill>
                  <a:srgbClr val="0E1C58"/>
                </a:solidFill>
              </a:defRPr>
            </a:lvl3pPr>
            <a:lvl4pPr>
              <a:defRPr sz="1200">
                <a:solidFill>
                  <a:srgbClr val="0E1C58"/>
                </a:solidFill>
              </a:defRPr>
            </a:lvl4pPr>
            <a:lvl5pPr>
              <a:defRPr sz="1200">
                <a:solidFill>
                  <a:srgbClr val="0E1C58"/>
                </a:solidFill>
              </a:defRPr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4654653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AndTwoObj">
  <p:cSld name="Title, Content, and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2400" y="533400"/>
            <a:ext cx="8839200" cy="3810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52400" y="990600"/>
            <a:ext cx="4343400" cy="5181600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4648200" y="990600"/>
            <a:ext cx="4343400" cy="2514600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Content Placeholder 4"/>
          <p:cNvSpPr>
            <a:spLocks noGrp="1"/>
          </p:cNvSpPr>
          <p:nvPr>
            <p:ph sz="quarter" idx="3"/>
          </p:nvPr>
        </p:nvSpPr>
        <p:spPr>
          <a:xfrm>
            <a:off x="4648200" y="3657600"/>
            <a:ext cx="4343400" cy="2514600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515757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algn="ctr">
              <a:defRPr sz="2700" baseline="0">
                <a:solidFill>
                  <a:schemeClr val="bg1"/>
                </a:solidFill>
                <a:latin typeface="Avenir Next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49C345-3D38-4CE2-B9D1-CA2F0BCB7BF5}" type="datetimeFigureOut">
              <a:rPr lang="en-US" smtClean="0"/>
              <a:t>10/24/2017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1350">
                <a:latin typeface="Avenir Next" charset="0"/>
                <a:ea typeface="Avenir Next" charset="0"/>
                <a:cs typeface="Avenir Next" charset="0"/>
              </a:defRPr>
            </a:lvl1pPr>
          </a:lstStyle>
          <a:p>
            <a:fld id="{92876CA8-A819-4C4C-A63B-F34209D849D8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7" name="TextBox 6"/>
          <p:cNvSpPr txBox="1"/>
          <p:nvPr/>
        </p:nvSpPr>
        <p:spPr>
          <a:xfrm>
            <a:off x="457200" y="1913467"/>
            <a:ext cx="8229601" cy="3860800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endParaRPr lang="en-US" sz="1350">
              <a:solidFill>
                <a:prstClr val="black"/>
              </a:solidFill>
              <a:latin typeface="Avenir Next" charset="0"/>
              <a:ea typeface="Avenir Next" charset="0"/>
              <a:cs typeface="Avenir Next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6377868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  <a:noFill/>
        </p:spPr>
        <p:txBody>
          <a:bodyPr anchor="b"/>
          <a:lstStyle>
            <a:lvl1pPr algn="ctr">
              <a:defRPr sz="4500">
                <a:solidFill>
                  <a:schemeClr val="bg1"/>
                </a:solidFill>
                <a:latin typeface="Avenir Book" charset="0"/>
                <a:ea typeface="Avenir Book" charset="0"/>
                <a:cs typeface="Avenir Book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  <a:noFill/>
        </p:spPr>
        <p:txBody>
          <a:bodyPr/>
          <a:lstStyle>
            <a:lvl1pPr marL="0" indent="0" algn="ctr">
              <a:buNone/>
              <a:defRPr sz="1800">
                <a:solidFill>
                  <a:schemeClr val="bg1"/>
                </a:solidFill>
                <a:latin typeface="Avenir Book" charset="0"/>
                <a:ea typeface="Avenir Book" charset="0"/>
                <a:cs typeface="Avenir Book" charset="0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noFill/>
        </p:spPr>
        <p:txBody>
          <a:bodyPr/>
          <a:lstStyle>
            <a:lvl1pPr>
              <a:defRPr>
                <a:solidFill>
                  <a:schemeClr val="bg1"/>
                </a:solidFill>
                <a:latin typeface="Avenir Book" charset="0"/>
                <a:ea typeface="Avenir Book" charset="0"/>
                <a:cs typeface="Avenir Book" charset="0"/>
              </a:defRPr>
            </a:lvl1pPr>
          </a:lstStyle>
          <a:p>
            <a:fld id="{5D15A451-678C-3A43-BD3A-A8B06A1DFF49}" type="datetime1">
              <a:rPr lang="en-US" smtClean="0"/>
              <a:t>10/24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noFill/>
        </p:spPr>
        <p:txBody>
          <a:bodyPr/>
          <a:lstStyle>
            <a:lvl1pPr>
              <a:defRPr>
                <a:solidFill>
                  <a:schemeClr val="bg1"/>
                </a:solidFill>
                <a:latin typeface="Avenir Book" charset="0"/>
                <a:ea typeface="Avenir Book" charset="0"/>
                <a:cs typeface="Avenir Book" charset="0"/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noFill/>
        </p:spPr>
        <p:txBody>
          <a:bodyPr/>
          <a:lstStyle>
            <a:lvl1pPr>
              <a:defRPr>
                <a:solidFill>
                  <a:schemeClr val="bg1"/>
                </a:solidFill>
                <a:latin typeface="Avenir Book" charset="0"/>
                <a:ea typeface="Avenir Book" charset="0"/>
                <a:cs typeface="Avenir Book" charset="0"/>
              </a:defRPr>
            </a:lvl1pPr>
          </a:lstStyle>
          <a:p>
            <a:fld id="{F120038C-7DD8-F24E-9A0D-798F83C68E6C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9935364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lIns="0" tIns="0" rIns="0" bIns="0">
            <a:noAutofit/>
          </a:bodyPr>
          <a:lstStyle>
            <a:lvl1pPr algn="ctr">
              <a:defRPr>
                <a:solidFill>
                  <a:schemeClr val="bg1"/>
                </a:solidFill>
                <a:latin typeface="Avenir Next" charset="0"/>
                <a:ea typeface="Avenir Next" charset="0"/>
                <a:cs typeface="Avenir Next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Autofit/>
          </a:bodyPr>
          <a:lstStyle>
            <a:lvl1pPr marL="0" indent="0">
              <a:buNone/>
              <a:defRPr sz="1500">
                <a:solidFill>
                  <a:schemeClr val="bg1"/>
                </a:solidFill>
                <a:latin typeface="Avenir Next" charset="0"/>
                <a:ea typeface="Avenir Next" charset="0"/>
                <a:cs typeface="Avenir Next" charset="0"/>
              </a:defRPr>
            </a:lvl1pPr>
            <a:lvl2pPr marL="342900" indent="0">
              <a:buNone/>
              <a:defRPr sz="1500">
                <a:solidFill>
                  <a:schemeClr val="bg1"/>
                </a:solidFill>
                <a:latin typeface="Avenir Book" charset="0"/>
                <a:ea typeface="Avenir Book" charset="0"/>
                <a:cs typeface="Avenir Book" charset="0"/>
              </a:defRPr>
            </a:lvl2pPr>
            <a:lvl3pPr marL="685800" indent="0">
              <a:buNone/>
              <a:defRPr sz="1500">
                <a:solidFill>
                  <a:schemeClr val="bg1"/>
                </a:solidFill>
                <a:latin typeface="Avenir Book" charset="0"/>
                <a:ea typeface="Avenir Book" charset="0"/>
                <a:cs typeface="Avenir Book" charset="0"/>
              </a:defRPr>
            </a:lvl3pPr>
            <a:lvl4pPr marL="1028700" indent="0">
              <a:buNone/>
              <a:defRPr sz="1500">
                <a:solidFill>
                  <a:schemeClr val="bg1"/>
                </a:solidFill>
                <a:latin typeface="Avenir Book" charset="0"/>
                <a:ea typeface="Avenir Book" charset="0"/>
                <a:cs typeface="Avenir Book" charset="0"/>
              </a:defRPr>
            </a:lvl4pPr>
            <a:lvl5pPr marL="1371600" indent="0">
              <a:buNone/>
              <a:defRPr sz="1500">
                <a:solidFill>
                  <a:schemeClr val="bg1"/>
                </a:solidFill>
                <a:latin typeface="Avenir Book" charset="0"/>
                <a:ea typeface="Avenir Book" charset="0"/>
                <a:cs typeface="Avenir Book" charset="0"/>
              </a:defRPr>
            </a:lvl5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Avenir Book" charset="0"/>
                <a:ea typeface="Avenir Book" charset="0"/>
                <a:cs typeface="Avenir Book" charset="0"/>
              </a:defRPr>
            </a:lvl1pPr>
          </a:lstStyle>
          <a:p>
            <a:fld id="{E574A01D-4478-7E4B-81C0-2D32DD8A6C08}" type="datetime1">
              <a:rPr lang="en-US" smtClean="0"/>
              <a:t>10/24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Avenir Book" charset="0"/>
                <a:ea typeface="Avenir Book" charset="0"/>
                <a:cs typeface="Avenir Book" charset="0"/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Avenir Book" charset="0"/>
                <a:ea typeface="Avenir Book" charset="0"/>
                <a:cs typeface="Avenir Book" charset="0"/>
              </a:defRPr>
            </a:lvl1pPr>
          </a:lstStyle>
          <a:p>
            <a:fld id="{F120038C-7DD8-F24E-9A0D-798F83C68E6C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9655683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709739"/>
            <a:ext cx="7886700" cy="2852737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4589464"/>
            <a:ext cx="7886700" cy="1500187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7557510-1C90-ED44-BF12-7C9C3627113E}" type="datetime1">
              <a:rPr lang="en-US" smtClean="0"/>
              <a:t>10/24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20038C-7DD8-F24E-9A0D-798F83C68E6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8362681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62BD384-B854-D64C-9EE8-F5FAB0CD4200}" type="datetime1">
              <a:rPr lang="en-US" smtClean="0"/>
              <a:t>10/24/2017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20038C-7DD8-F24E-9A0D-798F83C68E6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2138478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65126"/>
            <a:ext cx="7886700" cy="132556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391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391" cy="3684588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BF709D-1E11-F24A-B412-D1D3916F6BAF}" type="datetime1">
              <a:rPr lang="en-US" smtClean="0"/>
              <a:t>10/24/2017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20038C-7DD8-F24E-9A0D-798F83C68E6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7436148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2292BAB-6EC0-E346-BDA9-296A76558023}" type="datetime1">
              <a:rPr lang="en-US" smtClean="0"/>
              <a:t>10/24/2017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20038C-7DD8-F24E-9A0D-798F83C68E6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9495891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ISIS_PPT_P1_r2.pdf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59174"/>
            <a:ext cx="8229600" cy="783770"/>
          </a:xfrm>
        </p:spPr>
        <p:txBody>
          <a:bodyPr/>
          <a:lstStyle>
            <a:lvl1pPr>
              <a:defRPr>
                <a:solidFill>
                  <a:srgbClr val="0E1C58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49C345-3D38-4CE2-B9D1-CA2F0BCB7BF5}" type="datetimeFigureOut">
              <a:rPr lang="en-US" smtClean="0"/>
              <a:t>10/24/2017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2876CA8-A819-4C4C-A63B-F34209D849D8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7" name="Content Placeholder 2"/>
          <p:cNvSpPr>
            <a:spLocks noGrp="1"/>
          </p:cNvSpPr>
          <p:nvPr>
            <p:ph idx="1"/>
          </p:nvPr>
        </p:nvSpPr>
        <p:spPr>
          <a:xfrm>
            <a:off x="457200" y="1176834"/>
            <a:ext cx="8229600" cy="4525963"/>
          </a:xfrm>
        </p:spPr>
        <p:txBody>
          <a:bodyPr/>
          <a:lstStyle>
            <a:lvl1pPr>
              <a:defRPr>
                <a:solidFill>
                  <a:srgbClr val="0E1C58"/>
                </a:solidFill>
              </a:defRPr>
            </a:lvl1pPr>
            <a:lvl2pPr>
              <a:defRPr>
                <a:solidFill>
                  <a:srgbClr val="0E1C58"/>
                </a:solidFill>
              </a:defRPr>
            </a:lvl2pPr>
            <a:lvl3pPr>
              <a:defRPr>
                <a:solidFill>
                  <a:srgbClr val="0E1C58"/>
                </a:solidFill>
              </a:defRPr>
            </a:lvl3pPr>
            <a:lvl4pPr>
              <a:defRPr>
                <a:solidFill>
                  <a:srgbClr val="0E1C58"/>
                </a:solidFill>
              </a:defRPr>
            </a:lvl4pPr>
            <a:lvl5pPr>
              <a:defRPr>
                <a:solidFill>
                  <a:srgbClr val="0E1C58"/>
                </a:solidFill>
              </a:defRPr>
            </a:lvl5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pic>
        <p:nvPicPr>
          <p:cNvPr id="8" name="Picture 7" descr="ISIS_PPT_P1_r2.pdf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7565911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AD43DF6-29DE-4341-B90C-7E4F4273AC02}" type="datetime1">
              <a:rPr lang="en-US" smtClean="0"/>
              <a:t>10/24/2017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20038C-7DD8-F24E-9A0D-798F83C68E6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9783866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2E2B46A-29B5-0D49-BA8C-44B797CC7D45}" type="datetime1">
              <a:rPr lang="en-US" smtClean="0"/>
              <a:t>10/24/2017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20038C-7DD8-F24E-9A0D-798F83C68E6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43468384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84BB800-B0CF-1447-90FC-05A9F3897986}" type="datetime1">
              <a:rPr lang="en-US" smtClean="0"/>
              <a:t>10/24/2017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20038C-7DD8-F24E-9A0D-798F83C68E6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80094958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4F9E19C-74DD-8C4E-8067-0D3CD6161BBD}" type="datetime1">
              <a:rPr lang="en-US" smtClean="0"/>
              <a:t>10/24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20038C-7DD8-F24E-9A0D-798F83C68E6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87764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800725" cy="5811838"/>
          </a:xfrm>
        </p:spPr>
        <p:txBody>
          <a:bodyPr vert="eaVert"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222C6C-170C-0C41-AC59-A3EF3F14355C}" type="datetime1">
              <a:rPr lang="en-US" smtClean="0"/>
              <a:t>10/24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20038C-7DD8-F24E-9A0D-798F83C68E6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5250382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anoth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 descr="new_isis_ppt_bg_no_footer.pn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351" y="0"/>
            <a:ext cx="9137650" cy="6858000"/>
          </a:xfrm>
          <a:prstGeom prst="rect">
            <a:avLst/>
          </a:prstGeom>
        </p:spPr>
      </p:pic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176834"/>
            <a:ext cx="8229600" cy="4525963"/>
          </a:xfrm>
        </p:spPr>
        <p:txBody>
          <a:bodyPr/>
          <a:lstStyle>
            <a:lvl1pPr>
              <a:defRPr>
                <a:solidFill>
                  <a:srgbClr val="0E1C58"/>
                </a:solidFill>
              </a:defRPr>
            </a:lvl1pPr>
            <a:lvl2pPr>
              <a:defRPr>
                <a:solidFill>
                  <a:srgbClr val="0E1C58"/>
                </a:solidFill>
              </a:defRPr>
            </a:lvl2pPr>
            <a:lvl3pPr>
              <a:defRPr>
                <a:solidFill>
                  <a:srgbClr val="0E1C58"/>
                </a:solidFill>
              </a:defRPr>
            </a:lvl3pPr>
            <a:lvl4pPr>
              <a:defRPr>
                <a:solidFill>
                  <a:srgbClr val="0E1C58"/>
                </a:solidFill>
              </a:defRPr>
            </a:lvl4pPr>
            <a:lvl5pPr>
              <a:defRPr>
                <a:solidFill>
                  <a:srgbClr val="0E1C58"/>
                </a:solidFill>
              </a:defRPr>
            </a:lvl5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49C345-3D38-4CE2-B9D1-CA2F0BCB7BF5}" type="datetimeFigureOut">
              <a:rPr lang="en-US" smtClean="0"/>
              <a:t>10/24/2017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2876CA8-A819-4C4C-A63B-F34209D849D8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57768"/>
            <a:ext cx="8229600" cy="764526"/>
          </a:xfrm>
        </p:spPr>
        <p:txBody>
          <a:bodyPr>
            <a:normAutofit/>
          </a:bodyPr>
          <a:lstStyle>
            <a:lvl1pPr>
              <a:defRPr sz="2700">
                <a:solidFill>
                  <a:srgbClr val="0E1C58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511926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ISIS_PPT_P1_r2.pdf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16907"/>
            <a:ext cx="8229600" cy="726038"/>
          </a:xfrm>
        </p:spPr>
        <p:txBody>
          <a:bodyPr/>
          <a:lstStyle>
            <a:lvl1pPr>
              <a:defRPr>
                <a:solidFill>
                  <a:srgbClr val="0E1C58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234564"/>
            <a:ext cx="4038600" cy="4525963"/>
          </a:xfrm>
        </p:spPr>
        <p:txBody>
          <a:bodyPr/>
          <a:lstStyle>
            <a:lvl1pPr>
              <a:defRPr sz="2100">
                <a:solidFill>
                  <a:srgbClr val="0E1C58"/>
                </a:solidFill>
              </a:defRPr>
            </a:lvl1pPr>
            <a:lvl2pPr>
              <a:defRPr sz="1800">
                <a:solidFill>
                  <a:srgbClr val="0E1C58"/>
                </a:solidFill>
              </a:defRPr>
            </a:lvl2pPr>
            <a:lvl3pPr>
              <a:defRPr sz="1500">
                <a:solidFill>
                  <a:srgbClr val="0E1C58"/>
                </a:solidFill>
              </a:defRPr>
            </a:lvl3pPr>
            <a:lvl4pPr>
              <a:defRPr sz="1350">
                <a:solidFill>
                  <a:srgbClr val="0E1C58"/>
                </a:solidFill>
              </a:defRPr>
            </a:lvl4pPr>
            <a:lvl5pPr>
              <a:defRPr sz="1350">
                <a:solidFill>
                  <a:srgbClr val="0E1C58"/>
                </a:solidFill>
              </a:defRPr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234564"/>
            <a:ext cx="4038600" cy="4525963"/>
          </a:xfrm>
        </p:spPr>
        <p:txBody>
          <a:bodyPr/>
          <a:lstStyle>
            <a:lvl1pPr>
              <a:defRPr sz="2100">
                <a:solidFill>
                  <a:srgbClr val="0E1C58"/>
                </a:solidFill>
              </a:defRPr>
            </a:lvl1pPr>
            <a:lvl2pPr>
              <a:defRPr sz="1800">
                <a:solidFill>
                  <a:srgbClr val="0E1C58"/>
                </a:solidFill>
              </a:defRPr>
            </a:lvl2pPr>
            <a:lvl3pPr>
              <a:defRPr sz="1500">
                <a:solidFill>
                  <a:srgbClr val="0E1C58"/>
                </a:solidFill>
              </a:defRPr>
            </a:lvl3pPr>
            <a:lvl4pPr>
              <a:defRPr sz="1350">
                <a:solidFill>
                  <a:srgbClr val="0E1C58"/>
                </a:solidFill>
              </a:defRPr>
            </a:lvl4pPr>
            <a:lvl5pPr>
              <a:defRPr sz="1350">
                <a:solidFill>
                  <a:srgbClr val="0E1C58"/>
                </a:solidFill>
              </a:defRPr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-1451114" y="5265887"/>
            <a:ext cx="2133600" cy="365125"/>
          </a:xfrm>
        </p:spPr>
        <p:txBody>
          <a:bodyPr/>
          <a:lstStyle/>
          <a:p>
            <a:fld id="{4549C345-3D38-4CE2-B9D1-CA2F0BCB7BF5}" type="datetimeFigureOut">
              <a:rPr lang="en-US" smtClean="0"/>
              <a:t>10/24/2017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2876CA8-A819-4C4C-A63B-F34209D849D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1108062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ISIS_PPT_P1_r2.pdf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78418"/>
            <a:ext cx="8229600" cy="783770"/>
          </a:xfrm>
        </p:spPr>
        <p:txBody>
          <a:bodyPr/>
          <a:lstStyle>
            <a:lvl1pPr>
              <a:defRPr>
                <a:solidFill>
                  <a:srgbClr val="0E1C58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1140608"/>
            <a:ext cx="4040188" cy="2143507"/>
          </a:xfrm>
        </p:spPr>
        <p:txBody>
          <a:bodyPr/>
          <a:lstStyle>
            <a:lvl1pPr>
              <a:defRPr sz="1800">
                <a:solidFill>
                  <a:srgbClr val="0E1C58"/>
                </a:solidFill>
              </a:defRPr>
            </a:lvl1pPr>
            <a:lvl2pPr>
              <a:defRPr sz="1500">
                <a:solidFill>
                  <a:srgbClr val="0E1C58"/>
                </a:solidFill>
              </a:defRPr>
            </a:lvl2pPr>
            <a:lvl3pPr>
              <a:defRPr sz="1350">
                <a:solidFill>
                  <a:srgbClr val="0E1C58"/>
                </a:solidFill>
              </a:defRPr>
            </a:lvl3pPr>
            <a:lvl4pPr>
              <a:defRPr sz="1200">
                <a:solidFill>
                  <a:srgbClr val="0E1C58"/>
                </a:solidFill>
              </a:defRPr>
            </a:lvl4pPr>
            <a:lvl5pPr>
              <a:defRPr sz="1200">
                <a:solidFill>
                  <a:srgbClr val="0E1C58"/>
                </a:solidFill>
              </a:defRPr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6" y="1140608"/>
            <a:ext cx="4041775" cy="2143507"/>
          </a:xfrm>
        </p:spPr>
        <p:txBody>
          <a:bodyPr/>
          <a:lstStyle>
            <a:lvl1pPr>
              <a:defRPr sz="1800">
                <a:solidFill>
                  <a:srgbClr val="0E1C58"/>
                </a:solidFill>
              </a:defRPr>
            </a:lvl1pPr>
            <a:lvl2pPr>
              <a:defRPr sz="1500">
                <a:solidFill>
                  <a:srgbClr val="0E1C58"/>
                </a:solidFill>
              </a:defRPr>
            </a:lvl2pPr>
            <a:lvl3pPr>
              <a:defRPr sz="1350">
                <a:solidFill>
                  <a:srgbClr val="0E1C58"/>
                </a:solidFill>
              </a:defRPr>
            </a:lvl3pPr>
            <a:lvl4pPr>
              <a:defRPr sz="1200">
                <a:solidFill>
                  <a:srgbClr val="0E1C58"/>
                </a:solidFill>
              </a:defRPr>
            </a:lvl4pPr>
            <a:lvl5pPr>
              <a:defRPr sz="1200">
                <a:solidFill>
                  <a:srgbClr val="0E1C58"/>
                </a:solidFill>
              </a:defRPr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49C345-3D38-4CE2-B9D1-CA2F0BCB7BF5}" type="datetimeFigureOut">
              <a:rPr lang="en-US" smtClean="0"/>
              <a:t>10/24/2017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2876CA8-A819-4C4C-A63B-F34209D849D8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4" name="Rectangle 13"/>
          <p:cNvSpPr/>
          <p:nvPr/>
        </p:nvSpPr>
        <p:spPr>
          <a:xfrm>
            <a:off x="0" y="5859886"/>
            <a:ext cx="9144000" cy="998114"/>
          </a:xfrm>
          <a:prstGeom prst="rect">
            <a:avLst/>
          </a:prstGeom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sz="1350">
              <a:solidFill>
                <a:prstClr val="black"/>
              </a:solidFill>
            </a:endParaRPr>
          </a:p>
        </p:txBody>
      </p:sp>
      <p:sp>
        <p:nvSpPr>
          <p:cNvPr id="13" name="Content Placeholder 3"/>
          <p:cNvSpPr>
            <a:spLocks noGrp="1"/>
          </p:cNvSpPr>
          <p:nvPr>
            <p:ph sz="half" idx="14"/>
          </p:nvPr>
        </p:nvSpPr>
        <p:spPr>
          <a:xfrm>
            <a:off x="4646613" y="3576938"/>
            <a:ext cx="4040188" cy="2282948"/>
          </a:xfrm>
        </p:spPr>
        <p:txBody>
          <a:bodyPr/>
          <a:lstStyle>
            <a:lvl1pPr>
              <a:defRPr sz="1800">
                <a:solidFill>
                  <a:srgbClr val="0E1C58"/>
                </a:solidFill>
              </a:defRPr>
            </a:lvl1pPr>
            <a:lvl2pPr>
              <a:defRPr sz="1500">
                <a:solidFill>
                  <a:srgbClr val="0E1C58"/>
                </a:solidFill>
              </a:defRPr>
            </a:lvl2pPr>
            <a:lvl3pPr>
              <a:defRPr sz="1350">
                <a:solidFill>
                  <a:srgbClr val="0E1C58"/>
                </a:solidFill>
              </a:defRPr>
            </a:lvl3pPr>
            <a:lvl4pPr>
              <a:defRPr sz="1200">
                <a:solidFill>
                  <a:srgbClr val="0E1C58"/>
                </a:solidFill>
              </a:defRPr>
            </a:lvl4pPr>
            <a:lvl5pPr>
              <a:defRPr sz="1200">
                <a:solidFill>
                  <a:srgbClr val="0E1C58"/>
                </a:solidFill>
              </a:defRPr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1" name="Content Placeholder 3"/>
          <p:cNvSpPr>
            <a:spLocks noGrp="1"/>
          </p:cNvSpPr>
          <p:nvPr>
            <p:ph sz="half" idx="13"/>
          </p:nvPr>
        </p:nvSpPr>
        <p:spPr>
          <a:xfrm>
            <a:off x="457200" y="3576939"/>
            <a:ext cx="4040188" cy="2282949"/>
          </a:xfrm>
        </p:spPr>
        <p:txBody>
          <a:bodyPr/>
          <a:lstStyle>
            <a:lvl1pPr>
              <a:defRPr sz="1800">
                <a:solidFill>
                  <a:srgbClr val="0E1C58"/>
                </a:solidFill>
              </a:defRPr>
            </a:lvl1pPr>
            <a:lvl2pPr>
              <a:defRPr sz="1500">
                <a:solidFill>
                  <a:srgbClr val="0E1C58"/>
                </a:solidFill>
              </a:defRPr>
            </a:lvl2pPr>
            <a:lvl3pPr>
              <a:defRPr sz="1350">
                <a:solidFill>
                  <a:srgbClr val="0E1C58"/>
                </a:solidFill>
              </a:defRPr>
            </a:lvl3pPr>
            <a:lvl4pPr>
              <a:defRPr sz="1200">
                <a:solidFill>
                  <a:srgbClr val="0E1C58"/>
                </a:solidFill>
              </a:defRPr>
            </a:lvl4pPr>
            <a:lvl5pPr>
              <a:defRPr sz="1200">
                <a:solidFill>
                  <a:srgbClr val="0E1C58"/>
                </a:solidFill>
              </a:defRPr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2" name="Rectangle 11"/>
          <p:cNvSpPr/>
          <p:nvPr/>
        </p:nvSpPr>
        <p:spPr>
          <a:xfrm>
            <a:off x="0" y="5859886"/>
            <a:ext cx="9144000" cy="998114"/>
          </a:xfrm>
          <a:prstGeom prst="rect">
            <a:avLst/>
          </a:prstGeom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sz="135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477243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49C345-3D38-4CE2-B9D1-CA2F0BCB7BF5}" type="datetimeFigureOut">
              <a:rPr lang="en-US" smtClean="0"/>
              <a:t>10/24/2017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2876CA8-A819-4C4C-A63B-F34209D849D8}" type="slidenum">
              <a:rPr lang="en-US" smtClean="0"/>
              <a:t>‹#›</a:t>
            </a:fld>
            <a:endParaRPr lang="en-US" dirty="0"/>
          </a:p>
        </p:txBody>
      </p:sp>
      <p:pic>
        <p:nvPicPr>
          <p:cNvPr id="5" name="Picture 4" descr="ISIS_PPT_P1_r2.pdf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2862437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1" y="273050"/>
            <a:ext cx="3008313" cy="1162050"/>
          </a:xfrm>
        </p:spPr>
        <p:txBody>
          <a:bodyPr anchor="b"/>
          <a:lstStyle>
            <a:lvl1pPr algn="l">
              <a:defRPr sz="15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2"/>
            <a:ext cx="5111750" cy="5853113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1" y="1435102"/>
            <a:ext cx="3008313" cy="4691063"/>
          </a:xfrm>
        </p:spPr>
        <p:txBody>
          <a:bodyPr/>
          <a:lstStyle>
            <a:lvl1pPr marL="0" indent="0">
              <a:buNone/>
              <a:defRPr sz="1050"/>
            </a:lvl1pPr>
            <a:lvl2pPr marL="342900" indent="0">
              <a:buNone/>
              <a:defRPr sz="900"/>
            </a:lvl2pPr>
            <a:lvl3pPr marL="685800" indent="0">
              <a:buNone/>
              <a:defRPr sz="750"/>
            </a:lvl3pPr>
            <a:lvl4pPr marL="1028700" indent="0">
              <a:buNone/>
              <a:defRPr sz="675"/>
            </a:lvl4pPr>
            <a:lvl5pPr marL="1371600" indent="0">
              <a:buNone/>
              <a:defRPr sz="675"/>
            </a:lvl5pPr>
            <a:lvl6pPr marL="1714500" indent="0">
              <a:buNone/>
              <a:defRPr sz="675"/>
            </a:lvl6pPr>
            <a:lvl7pPr marL="2057400" indent="0">
              <a:buNone/>
              <a:defRPr sz="675"/>
            </a:lvl7pPr>
            <a:lvl8pPr marL="2400300" indent="0">
              <a:buNone/>
              <a:defRPr sz="675"/>
            </a:lvl8pPr>
            <a:lvl9pPr marL="2743200" indent="0">
              <a:buNone/>
              <a:defRPr sz="675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49C345-3D38-4CE2-B9D1-CA2F0BCB7BF5}" type="datetimeFigureOut">
              <a:rPr lang="en-US" smtClean="0"/>
              <a:t>10/24/2017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2876CA8-A819-4C4C-A63B-F34209D849D8}" type="slidenum">
              <a:rPr lang="en-US" smtClean="0"/>
              <a:t>‹#›</a:t>
            </a:fld>
            <a:endParaRPr lang="en-US" dirty="0"/>
          </a:p>
        </p:txBody>
      </p:sp>
      <p:pic>
        <p:nvPicPr>
          <p:cNvPr id="8" name="Picture 7" descr="ISIS_PPT_P1_r2.pdf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7959"/>
          <a:stretch/>
        </p:blipFill>
        <p:spPr>
          <a:xfrm>
            <a:off x="0" y="1231602"/>
            <a:ext cx="9144000" cy="56263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9555418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15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050"/>
            </a:lvl1pPr>
            <a:lvl2pPr marL="342900" indent="0">
              <a:buNone/>
              <a:defRPr sz="900"/>
            </a:lvl2pPr>
            <a:lvl3pPr marL="685800" indent="0">
              <a:buNone/>
              <a:defRPr sz="750"/>
            </a:lvl3pPr>
            <a:lvl4pPr marL="1028700" indent="0">
              <a:buNone/>
              <a:defRPr sz="675"/>
            </a:lvl4pPr>
            <a:lvl5pPr marL="1371600" indent="0">
              <a:buNone/>
              <a:defRPr sz="675"/>
            </a:lvl5pPr>
            <a:lvl6pPr marL="1714500" indent="0">
              <a:buNone/>
              <a:defRPr sz="675"/>
            </a:lvl6pPr>
            <a:lvl7pPr marL="2057400" indent="0">
              <a:buNone/>
              <a:defRPr sz="675"/>
            </a:lvl7pPr>
            <a:lvl8pPr marL="2400300" indent="0">
              <a:buNone/>
              <a:defRPr sz="675"/>
            </a:lvl8pPr>
            <a:lvl9pPr marL="2743200" indent="0">
              <a:buNone/>
              <a:defRPr sz="675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49C345-3D38-4CE2-B9D1-CA2F0BCB7BF5}" type="datetimeFigureOut">
              <a:rPr lang="en-US" smtClean="0"/>
              <a:t>10/24/2017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2876CA8-A819-4C4C-A63B-F34209D849D8}" type="slidenum">
              <a:rPr lang="en-US" smtClean="0"/>
              <a:t>‹#›</a:t>
            </a:fld>
            <a:endParaRPr lang="en-US" dirty="0"/>
          </a:p>
        </p:txBody>
      </p:sp>
      <p:pic>
        <p:nvPicPr>
          <p:cNvPr id="8" name="Picture 7" descr="ISIS_PPT_P1_r2.pdf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7959"/>
          <a:stretch/>
        </p:blipFill>
        <p:spPr>
          <a:xfrm>
            <a:off x="0" y="1231602"/>
            <a:ext cx="9144000" cy="56263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8808159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ISIS_PPT_P1_r2.pdf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78419"/>
            <a:ext cx="8229600" cy="668307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1176834"/>
            <a:ext cx="8229600" cy="4525963"/>
          </a:xfrm>
        </p:spPr>
        <p:txBody>
          <a:bodyPr vert="eaVert"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49C345-3D38-4CE2-B9D1-CA2F0BCB7BF5}" type="datetimeFigureOut">
              <a:rPr lang="en-US" smtClean="0"/>
              <a:t>10/24/2017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2876CA8-A819-4C4C-A63B-F34209D849D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7559410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.xml"/><Relationship Id="rId3" Type="http://schemas.openxmlformats.org/officeDocument/2006/relationships/slideLayout" Target="../slideLayouts/slideLayout16.xml"/><Relationship Id="rId7" Type="http://schemas.openxmlformats.org/officeDocument/2006/relationships/slideLayout" Target="../slideLayouts/slideLayout20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5.xml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11" Type="http://schemas.openxmlformats.org/officeDocument/2006/relationships/slideLayout" Target="../slideLayouts/slideLayout24.xml"/><Relationship Id="rId5" Type="http://schemas.openxmlformats.org/officeDocument/2006/relationships/slideLayout" Target="../slideLayouts/slideLayout18.xml"/><Relationship Id="rId10" Type="http://schemas.openxmlformats.org/officeDocument/2006/relationships/slideLayout" Target="../slideLayouts/slideLayout23.xml"/><Relationship Id="rId4" Type="http://schemas.openxmlformats.org/officeDocument/2006/relationships/slideLayout" Target="../slideLayouts/slideLayout17.xml"/><Relationship Id="rId9" Type="http://schemas.openxmlformats.org/officeDocument/2006/relationships/slideLayout" Target="../slideLayouts/slideLayout2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2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2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549C345-3D38-4CE2-B9D1-CA2F0BCB7BF5}" type="datetimeFigureOut">
              <a:rPr lang="en-US" smtClean="0"/>
              <a:t>10/24/2017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2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2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2876CA8-A819-4C4C-A63B-F34209D849D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326271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8" r:id="rId1"/>
    <p:sldLayoutId id="2147483689" r:id="rId2"/>
    <p:sldLayoutId id="2147483690" r:id="rId3"/>
    <p:sldLayoutId id="2147483691" r:id="rId4"/>
    <p:sldLayoutId id="2147483692" r:id="rId5"/>
    <p:sldLayoutId id="2147483693" r:id="rId6"/>
    <p:sldLayoutId id="2147483694" r:id="rId7"/>
    <p:sldLayoutId id="2147483695" r:id="rId8"/>
    <p:sldLayoutId id="2147483696" r:id="rId9"/>
    <p:sldLayoutId id="2147483697" r:id="rId10"/>
    <p:sldLayoutId id="2147483698" r:id="rId11"/>
    <p:sldLayoutId id="2147483699" r:id="rId12"/>
    <p:sldLayoutId id="2147483700" r:id="rId13"/>
  </p:sldLayoutIdLst>
  <p:timing>
    <p:tnLst>
      <p:par>
        <p:cTn id="1" dur="indefinite" restart="never" nodeType="tmRoot"/>
      </p:par>
    </p:tnLst>
  </p:timing>
  <p:txStyles>
    <p:titleStyle>
      <a:lvl1pPr algn="ctr" defTabSz="342900" rtl="0" eaLnBrk="1" latinLnBrk="0" hangingPunct="1"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57175" indent="-257175" algn="l" defTabSz="3429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57213" indent="-214313" algn="l" defTabSz="342900" rtl="0" eaLnBrk="1" latinLnBrk="0" hangingPunct="1">
        <a:spcBef>
          <a:spcPct val="20000"/>
        </a:spcBef>
        <a:buFont typeface="Arial"/>
        <a:buChar char="–"/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342900" rtl="0" eaLnBrk="1" latinLnBrk="0" hangingPunct="1">
        <a:spcBef>
          <a:spcPct val="200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342900" rtl="0" eaLnBrk="1" latinLnBrk="0" hangingPunct="1">
        <a:spcBef>
          <a:spcPct val="20000"/>
        </a:spcBef>
        <a:buFont typeface="Arial"/>
        <a:buChar char="–"/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342900" rtl="0" eaLnBrk="1" latinLnBrk="0" hangingPunct="1">
        <a:spcBef>
          <a:spcPct val="20000"/>
        </a:spcBef>
        <a:buFont typeface="Arial"/>
        <a:buChar char="»"/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A7268D8-A095-9946-B3E4-1080B27A2B4C}" type="datetime1">
              <a:rPr lang="en-US" smtClean="0"/>
              <a:t>10/24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120038C-7DD8-F24E-9A0D-798F83C68E6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913414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2" r:id="rId1"/>
    <p:sldLayoutId id="2147483703" r:id="rId2"/>
    <p:sldLayoutId id="2147483704" r:id="rId3"/>
    <p:sldLayoutId id="2147483705" r:id="rId4"/>
    <p:sldLayoutId id="2147483706" r:id="rId5"/>
    <p:sldLayoutId id="2147483707" r:id="rId6"/>
    <p:sldLayoutId id="2147483708" r:id="rId7"/>
    <p:sldLayoutId id="2147483709" r:id="rId8"/>
    <p:sldLayoutId id="2147483710" r:id="rId9"/>
    <p:sldLayoutId id="2147483711" r:id="rId10"/>
    <p:sldLayoutId id="2147483712" r:id="rId11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4" Type="http://schemas.openxmlformats.org/officeDocument/2006/relationships/image" Target="../media/image10.png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emf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3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3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14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16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tiff"/><Relationship Id="rId2" Type="http://schemas.openxmlformats.org/officeDocument/2006/relationships/image" Target="../media/image17.tiff"/><Relationship Id="rId1" Type="http://schemas.openxmlformats.org/officeDocument/2006/relationships/slideLayout" Target="../slideLayouts/slideLayout3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emf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3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emf"/><Relationship Id="rId2" Type="http://schemas.openxmlformats.org/officeDocument/2006/relationships/image" Target="../media/image20.emf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22.jpeg"/></Relationships>
</file>

<file path=ppt/slides/_rels/slide27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11.xml"/><Relationship Id="rId3" Type="http://schemas.openxmlformats.org/officeDocument/2006/relationships/tags" Target="../tags/tag3.xml"/><Relationship Id="rId7" Type="http://schemas.openxmlformats.org/officeDocument/2006/relationships/slideLayout" Target="../slideLayouts/slideLayout3.xml"/><Relationship Id="rId12" Type="http://schemas.openxmlformats.org/officeDocument/2006/relationships/image" Target="../media/image26.jpeg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image" Target="../media/image25.jpeg"/><Relationship Id="rId5" Type="http://schemas.openxmlformats.org/officeDocument/2006/relationships/tags" Target="../tags/tag5.xml"/><Relationship Id="rId10" Type="http://schemas.openxmlformats.org/officeDocument/2006/relationships/image" Target="../media/image24.jpeg"/><Relationship Id="rId4" Type="http://schemas.openxmlformats.org/officeDocument/2006/relationships/tags" Target="../tags/tag4.xml"/><Relationship Id="rId9" Type="http://schemas.openxmlformats.org/officeDocument/2006/relationships/image" Target="../media/image23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emf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emf"/><Relationship Id="rId2" Type="http://schemas.openxmlformats.org/officeDocument/2006/relationships/image" Target="../media/image7.emf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9.png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emf"/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emf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99248" y="787256"/>
            <a:ext cx="8253136" cy="2509327"/>
          </a:xfrm>
        </p:spPr>
        <p:txBody>
          <a:bodyPr>
            <a:normAutofit/>
          </a:bodyPr>
          <a:lstStyle/>
          <a:p>
            <a:r>
              <a:rPr lang="en-US" b="1" dirty="0"/>
              <a:t>Providing Privacy, Safety, </a:t>
            </a:r>
            <a:r>
              <a:rPr lang="en-US" b="1" dirty="0" smtClean="0"/>
              <a:t>and Security </a:t>
            </a:r>
            <a:br>
              <a:rPr lang="en-US" b="1" dirty="0" smtClean="0"/>
            </a:br>
            <a:r>
              <a:rPr lang="en-US" b="1" dirty="0" smtClean="0"/>
              <a:t>in </a:t>
            </a:r>
            <a:r>
              <a:rPr lang="en-US" b="1" dirty="0" err="1" smtClean="0"/>
              <a:t>IoT</a:t>
            </a:r>
            <a:r>
              <a:rPr lang="en-US" b="1" dirty="0" smtClean="0"/>
              <a:t>-Based Transactive </a:t>
            </a:r>
            <a:r>
              <a:rPr lang="en-US" b="1" dirty="0"/>
              <a:t>Energy Systems using Distributed Ledgers</a:t>
            </a:r>
            <a:br>
              <a:rPr lang="en-US" b="1" dirty="0"/>
            </a:br>
            <a:endParaRPr lang="en-US" b="1" dirty="0"/>
          </a:p>
        </p:txBody>
      </p:sp>
      <p:sp>
        <p:nvSpPr>
          <p:cNvPr id="6" name="Rectangle 5"/>
          <p:cNvSpPr/>
          <p:nvPr/>
        </p:nvSpPr>
        <p:spPr>
          <a:xfrm>
            <a:off x="5312726" y="4503523"/>
            <a:ext cx="3486724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000" dirty="0" smtClean="0">
                <a:solidFill>
                  <a:schemeClr val="bg1"/>
                </a:solidFill>
              </a:rPr>
              <a:t>in partnership with Siemens, CT</a:t>
            </a:r>
            <a:endParaRPr lang="en-US" sz="2000" dirty="0">
              <a:solidFill>
                <a:schemeClr val="bg1"/>
              </a:solidFill>
            </a:endParaRPr>
          </a:p>
        </p:txBody>
      </p:sp>
      <p:graphicFrame>
        <p:nvGraphicFramePr>
          <p:cNvPr id="8" name="Table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12126592"/>
              </p:ext>
            </p:extLst>
          </p:nvPr>
        </p:nvGraphicFramePr>
        <p:xfrm>
          <a:off x="2963483" y="3237113"/>
          <a:ext cx="6096000" cy="662940"/>
        </p:xfrm>
        <a:graphic>
          <a:graphicData uri="http://schemas.openxmlformats.org/drawingml/2006/table">
            <a:tbl>
              <a:tblPr firstRow="1" bandRow="1">
                <a:effectLst/>
                <a:tableStyleId>{5C22544A-7EE6-4342-B048-85BDC9FD1C3A}</a:tableStyleId>
              </a:tblPr>
              <a:tblGrid>
                <a:gridCol w="3048000">
                  <a:extLst>
                    <a:ext uri="{9D8B030D-6E8A-4147-A177-3AD203B41FA5}">
                      <a16:colId xmlns:a16="http://schemas.microsoft.com/office/drawing/2014/main" val="1668808647"/>
                    </a:ext>
                  </a:extLst>
                </a:gridCol>
                <a:gridCol w="3048000">
                  <a:extLst>
                    <a:ext uri="{9D8B030D-6E8A-4147-A177-3AD203B41FA5}">
                      <a16:colId xmlns:a16="http://schemas.microsoft.com/office/drawing/2014/main" val="2979878187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sz="2400" u="sng" dirty="0" smtClean="0"/>
                        <a:t>Abhishek Dubey</a:t>
                      </a:r>
                    </a:p>
                    <a:p>
                      <a:r>
                        <a:rPr lang="en-US" dirty="0" smtClean="0"/>
                        <a:t>Vanderbilt University</a:t>
                      </a:r>
                      <a:endParaRPr lang="en-US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2400" dirty="0" smtClean="0"/>
                        <a:t>Aron Laszka</a:t>
                      </a:r>
                    </a:p>
                    <a:p>
                      <a:r>
                        <a:rPr lang="en-US" dirty="0" smtClean="0"/>
                        <a:t>University of Houston</a:t>
                      </a:r>
                      <a:endParaRPr lang="en-US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7392829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7251749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6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IAPS: Our </a:t>
            </a:r>
            <a:r>
              <a:rPr lang="en-US" dirty="0" err="1" smtClean="0"/>
              <a:t>IoT</a:t>
            </a:r>
            <a:r>
              <a:rPr lang="en-US" dirty="0" smtClean="0"/>
              <a:t> Programming Architecture</a:t>
            </a:r>
            <a:endParaRPr lang="en-US" dirty="0"/>
          </a:p>
        </p:txBody>
      </p:sp>
      <p:sp>
        <p:nvSpPr>
          <p:cNvPr id="5" name="TextBox 4"/>
          <p:cNvSpPr txBox="1"/>
          <p:nvPr/>
        </p:nvSpPr>
        <p:spPr>
          <a:xfrm>
            <a:off x="5823930" y="5369798"/>
            <a:ext cx="313515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http://riaps.isis.vanderbilt.edu</a:t>
            </a:r>
            <a:endParaRPr lang="en-US" dirty="0"/>
          </a:p>
        </p:txBody>
      </p:sp>
      <p:pic>
        <p:nvPicPr>
          <p:cNvPr id="6" name="RIAPS - Resilient Information Architecture Platform for the Smart Grid - Google Chrome 10_19_2017 9_29_45 PM">
            <a:hlinkClick r:id="" action="ppaction://media"/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 rotWithShape="1">
          <a:blip r:embed="rId4"/>
          <a:srcRect r="7089"/>
          <a:stretch/>
        </p:blipFill>
        <p:spPr>
          <a:xfrm>
            <a:off x="0" y="888405"/>
            <a:ext cx="9198173" cy="6187455"/>
          </a:xfrm>
          <a:prstGeom prst="rect">
            <a:avLst/>
          </a:prstGeom>
          <a:ln>
            <a:noFill/>
          </a:ln>
        </p:spPr>
      </p:pic>
      <p:sp>
        <p:nvSpPr>
          <p:cNvPr id="8" name="TextBox 7"/>
          <p:cNvSpPr txBox="1"/>
          <p:nvPr/>
        </p:nvSpPr>
        <p:spPr>
          <a:xfrm>
            <a:off x="0" y="5291407"/>
            <a:ext cx="9198173" cy="1754326"/>
          </a:xfrm>
          <a:prstGeom prst="rect">
            <a:avLst/>
          </a:prstGeom>
          <a:gradFill flip="none" rotWithShape="1">
            <a:gsLst>
              <a:gs pos="0">
                <a:schemeClr val="accent5">
                  <a:tint val="50000"/>
                  <a:satMod val="300000"/>
                </a:schemeClr>
              </a:gs>
              <a:gs pos="35000">
                <a:schemeClr val="accent5">
                  <a:tint val="37000"/>
                  <a:satMod val="300000"/>
                </a:schemeClr>
              </a:gs>
              <a:gs pos="100000">
                <a:schemeClr val="accent5">
                  <a:tint val="15000"/>
                  <a:satMod val="350000"/>
                </a:schemeClr>
              </a:gs>
            </a:gsLst>
            <a:lin ang="10800000" scaled="1"/>
            <a:tileRect/>
          </a:gradFill>
          <a:effectLst/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programming model (for distributed real-time software) on embedded nodes </a:t>
            </a:r>
            <a:r>
              <a:rPr lang="en-US" b="1" u="sng" dirty="0"/>
              <a:t>dispersed throughout the power gri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services (for application management, fault tolerance, security, time synchronization, coordination, etc</a:t>
            </a:r>
            <a:r>
              <a:rPr lang="en-US" dirty="0" smtClean="0"/>
              <a:t>.)</a:t>
            </a:r>
          </a:p>
          <a:p>
            <a:r>
              <a:rPr lang="en-US" dirty="0" smtClean="0"/>
              <a:t>                        PI: Gabor </a:t>
            </a:r>
            <a:r>
              <a:rPr lang="en-US" dirty="0" err="1" smtClean="0"/>
              <a:t>Karsai</a:t>
            </a:r>
            <a:r>
              <a:rPr lang="en-US" dirty="0" smtClean="0"/>
              <a:t>, Vanderbilt university, http://riaps.isis.vanderbilt.edu </a:t>
            </a:r>
          </a:p>
          <a:p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292778231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4741" fill="hold"/>
                                        <p:tgtEl>
                                          <p:spTgt spid="6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repeatCount="indefinite" fill="hold" display="0">
                  <p:stCondLst>
                    <p:cond delay="indefinite"/>
                  </p:stCondLst>
                </p:cTn>
                <p:tgtEl>
                  <p:spTgt spid="6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6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6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6"/>
                  </p:tgtEl>
                </p:cond>
              </p:nextCondLst>
            </p:seq>
          </p:childTnLst>
        </p:cTn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>The </a:t>
            </a:r>
            <a:r>
              <a:rPr lang="en-US" dirty="0" err="1"/>
              <a:t>PETra</a:t>
            </a:r>
            <a:r>
              <a:rPr lang="en-US" dirty="0"/>
              <a:t> </a:t>
            </a:r>
            <a:r>
              <a:rPr lang="en-US" dirty="0" smtClean="0"/>
              <a:t>System Components</a:t>
            </a:r>
            <a:endParaRPr lang="en-US" dirty="0"/>
          </a:p>
        </p:txBody>
      </p:sp>
      <p:sp>
        <p:nvSpPr>
          <p:cNvPr id="5" name="Subtitle 4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0969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94643" y="1117343"/>
            <a:ext cx="8398907" cy="4525963"/>
          </a:xfrm>
        </p:spPr>
        <p:txBody>
          <a:bodyPr>
            <a:noAutofit/>
          </a:bodyPr>
          <a:lstStyle/>
          <a:p>
            <a:r>
              <a:rPr lang="en-US" sz="1800" dirty="0">
                <a:latin typeface="Verdana" charset="0"/>
                <a:ea typeface="Verdana" charset="0"/>
                <a:cs typeface="Verdana" charset="0"/>
              </a:rPr>
              <a:t>We introduce </a:t>
            </a:r>
            <a:r>
              <a:rPr lang="en-US" sz="1800" b="1" dirty="0" err="1">
                <a:latin typeface="Verdana" charset="0"/>
                <a:ea typeface="Verdana" charset="0"/>
                <a:cs typeface="Verdana" charset="0"/>
              </a:rPr>
              <a:t>PETra</a:t>
            </a:r>
            <a:r>
              <a:rPr lang="en-US" sz="1800" dirty="0">
                <a:latin typeface="Verdana" charset="0"/>
                <a:ea typeface="Verdana" charset="0"/>
                <a:cs typeface="Verdana" charset="0"/>
              </a:rPr>
              <a:t>, a blockchain-based solution that enables consumers to trade energy without sacrificing their </a:t>
            </a:r>
            <a:r>
              <a:rPr lang="en-US" sz="1800" b="1" dirty="0">
                <a:latin typeface="Verdana" charset="0"/>
                <a:ea typeface="Verdana" charset="0"/>
                <a:cs typeface="Verdana" charset="0"/>
              </a:rPr>
              <a:t>privacy</a:t>
            </a:r>
            <a:r>
              <a:rPr lang="en-US" sz="1800" dirty="0">
                <a:latin typeface="Verdana" charset="0"/>
                <a:ea typeface="Verdana" charset="0"/>
                <a:cs typeface="Verdana" charset="0"/>
              </a:rPr>
              <a:t> and provides </a:t>
            </a:r>
            <a:r>
              <a:rPr lang="en-US" sz="1800" b="1" dirty="0">
                <a:latin typeface="Verdana" charset="0"/>
                <a:ea typeface="Verdana" charset="0"/>
                <a:cs typeface="Verdana" charset="0"/>
              </a:rPr>
              <a:t>safety</a:t>
            </a:r>
            <a:r>
              <a:rPr lang="en-US" sz="1800" dirty="0">
                <a:latin typeface="Verdana" charset="0"/>
                <a:ea typeface="Verdana" charset="0"/>
                <a:cs typeface="Verdana" charset="0"/>
              </a:rPr>
              <a:t> and </a:t>
            </a:r>
            <a:r>
              <a:rPr lang="en-US" sz="1800" b="1" dirty="0">
                <a:latin typeface="Verdana" charset="0"/>
                <a:ea typeface="Verdana" charset="0"/>
                <a:cs typeface="Verdana" charset="0"/>
              </a:rPr>
              <a:t>security</a:t>
            </a:r>
            <a:r>
              <a:rPr lang="en-US" sz="1800" dirty="0">
                <a:latin typeface="Verdana" charset="0"/>
                <a:ea typeface="Verdana" charset="0"/>
                <a:cs typeface="Verdana" charset="0"/>
              </a:rPr>
              <a:t> for the </a:t>
            </a:r>
            <a:r>
              <a:rPr lang="en-US" sz="1800" dirty="0" smtClean="0">
                <a:latin typeface="Verdana" charset="0"/>
                <a:ea typeface="Verdana" charset="0"/>
                <a:cs typeface="Verdana" charset="0"/>
              </a:rPr>
              <a:t>grid. </a:t>
            </a:r>
            <a:br>
              <a:rPr lang="en-US" sz="1800" dirty="0" smtClean="0">
                <a:latin typeface="Verdana" charset="0"/>
                <a:ea typeface="Verdana" charset="0"/>
                <a:cs typeface="Verdana" charset="0"/>
              </a:rPr>
            </a:br>
            <a:r>
              <a:rPr lang="en-US" sz="1800" dirty="0" smtClean="0">
                <a:latin typeface="Verdana" charset="0"/>
                <a:ea typeface="Verdana" charset="0"/>
                <a:cs typeface="Verdana" charset="0"/>
              </a:rPr>
              <a:t>It provides the following:</a:t>
            </a:r>
            <a:endParaRPr lang="en-US" sz="1800" dirty="0">
              <a:latin typeface="Verdana" charset="0"/>
              <a:ea typeface="Verdana" charset="0"/>
              <a:cs typeface="Verdana" charset="0"/>
            </a:endParaRPr>
          </a:p>
          <a:p>
            <a:endParaRPr lang="en-US" sz="1800" dirty="0" smtClean="0"/>
          </a:p>
          <a:p>
            <a:endParaRPr lang="en-US" sz="180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 err="1" smtClean="0"/>
              <a:t>PETra</a:t>
            </a:r>
            <a:r>
              <a:rPr lang="en-US" dirty="0" smtClean="0"/>
              <a:t> Trading Platform and </a:t>
            </a:r>
            <a:br>
              <a:rPr lang="en-US" dirty="0" smtClean="0"/>
            </a:br>
            <a:r>
              <a:rPr lang="en-US" dirty="0" smtClean="0"/>
              <a:t>Distributed Ledger Architecture</a:t>
            </a:r>
            <a:endParaRPr lang="en-US" dirty="0"/>
          </a:p>
        </p:txBody>
      </p:sp>
      <p:sp>
        <p:nvSpPr>
          <p:cNvPr id="25" name="TextBox 24"/>
          <p:cNvSpPr txBox="1"/>
          <p:nvPr/>
        </p:nvSpPr>
        <p:spPr>
          <a:xfrm>
            <a:off x="338647" y="4467807"/>
            <a:ext cx="504577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A RIAPS Node Participating in </a:t>
            </a:r>
            <a:r>
              <a:rPr lang="en-US" dirty="0" err="1" smtClean="0"/>
              <a:t>PETra</a:t>
            </a:r>
            <a:r>
              <a:rPr lang="en-US" dirty="0" smtClean="0"/>
              <a:t>-Enabled Transactive Energy Market</a:t>
            </a:r>
            <a:endParaRPr lang="en-US" dirty="0"/>
          </a:p>
        </p:txBody>
      </p:sp>
      <p:pic>
        <p:nvPicPr>
          <p:cNvPr id="27" name="Picture 3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28426" y="4467807"/>
            <a:ext cx="2425700" cy="1828800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4" name="Picture 2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38647" y="2652567"/>
            <a:ext cx="4947728" cy="1591878"/>
          </a:xfrm>
          <a:prstGeom prst="rect">
            <a:avLst/>
          </a:prstGeom>
        </p:spPr>
      </p:pic>
      <p:sp>
        <p:nvSpPr>
          <p:cNvPr id="9" name="TextBox 8"/>
          <p:cNvSpPr txBox="1"/>
          <p:nvPr/>
        </p:nvSpPr>
        <p:spPr>
          <a:xfrm>
            <a:off x="5450456" y="2935288"/>
            <a:ext cx="3171907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The node runs the necessary logic to participate in the trading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915276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94643" y="1117343"/>
            <a:ext cx="8398907" cy="4525963"/>
          </a:xfrm>
        </p:spPr>
        <p:txBody>
          <a:bodyPr>
            <a:noAutofit/>
          </a:bodyPr>
          <a:lstStyle/>
          <a:p>
            <a:r>
              <a:rPr lang="en-US" sz="1800" dirty="0">
                <a:latin typeface="Verdana" charset="0"/>
                <a:ea typeface="Verdana" charset="0"/>
                <a:cs typeface="Verdana" charset="0"/>
              </a:rPr>
              <a:t>We introduce </a:t>
            </a:r>
            <a:r>
              <a:rPr lang="en-US" sz="1800" b="1" dirty="0" err="1">
                <a:latin typeface="Verdana" charset="0"/>
                <a:ea typeface="Verdana" charset="0"/>
                <a:cs typeface="Verdana" charset="0"/>
              </a:rPr>
              <a:t>PETra</a:t>
            </a:r>
            <a:r>
              <a:rPr lang="en-US" sz="1800" dirty="0">
                <a:latin typeface="Verdana" charset="0"/>
                <a:ea typeface="Verdana" charset="0"/>
                <a:cs typeface="Verdana" charset="0"/>
              </a:rPr>
              <a:t>, a </a:t>
            </a:r>
            <a:r>
              <a:rPr lang="en-US" sz="1800" dirty="0" err="1">
                <a:latin typeface="Verdana" charset="0"/>
                <a:ea typeface="Verdana" charset="0"/>
                <a:cs typeface="Verdana" charset="0"/>
              </a:rPr>
              <a:t>blockchain</a:t>
            </a:r>
            <a:r>
              <a:rPr lang="en-US" sz="1800" dirty="0">
                <a:latin typeface="Verdana" charset="0"/>
                <a:ea typeface="Verdana" charset="0"/>
                <a:cs typeface="Verdana" charset="0"/>
              </a:rPr>
              <a:t>-based solution that enables consumers to trade energy without sacrificing their </a:t>
            </a:r>
            <a:r>
              <a:rPr lang="en-US" sz="1800" b="1" dirty="0">
                <a:latin typeface="Verdana" charset="0"/>
                <a:ea typeface="Verdana" charset="0"/>
                <a:cs typeface="Verdana" charset="0"/>
              </a:rPr>
              <a:t>privacy</a:t>
            </a:r>
            <a:r>
              <a:rPr lang="en-US" sz="1800" dirty="0">
                <a:latin typeface="Verdana" charset="0"/>
                <a:ea typeface="Verdana" charset="0"/>
                <a:cs typeface="Verdana" charset="0"/>
              </a:rPr>
              <a:t> and provides </a:t>
            </a:r>
            <a:r>
              <a:rPr lang="en-US" sz="1800" b="1" dirty="0">
                <a:latin typeface="Verdana" charset="0"/>
                <a:ea typeface="Verdana" charset="0"/>
                <a:cs typeface="Verdana" charset="0"/>
              </a:rPr>
              <a:t>safety</a:t>
            </a:r>
            <a:r>
              <a:rPr lang="en-US" sz="1800" dirty="0">
                <a:latin typeface="Verdana" charset="0"/>
                <a:ea typeface="Verdana" charset="0"/>
                <a:cs typeface="Verdana" charset="0"/>
              </a:rPr>
              <a:t> and </a:t>
            </a:r>
            <a:r>
              <a:rPr lang="en-US" sz="1800" b="1" dirty="0">
                <a:latin typeface="Verdana" charset="0"/>
                <a:ea typeface="Verdana" charset="0"/>
                <a:cs typeface="Verdana" charset="0"/>
              </a:rPr>
              <a:t>security</a:t>
            </a:r>
            <a:r>
              <a:rPr lang="en-US" sz="1800" dirty="0">
                <a:latin typeface="Verdana" charset="0"/>
                <a:ea typeface="Verdana" charset="0"/>
                <a:cs typeface="Verdana" charset="0"/>
              </a:rPr>
              <a:t> for the grid. </a:t>
            </a:r>
            <a:br>
              <a:rPr lang="en-US" sz="1800" dirty="0">
                <a:latin typeface="Verdana" charset="0"/>
                <a:ea typeface="Verdana" charset="0"/>
                <a:cs typeface="Verdana" charset="0"/>
              </a:rPr>
            </a:br>
            <a:r>
              <a:rPr lang="en-US" sz="1800" dirty="0">
                <a:latin typeface="Verdana" charset="0"/>
                <a:ea typeface="Verdana" charset="0"/>
                <a:cs typeface="Verdana" charset="0"/>
              </a:rPr>
              <a:t>It provides the following:</a:t>
            </a:r>
          </a:p>
          <a:p>
            <a:endParaRPr lang="en-US" sz="1800" dirty="0"/>
          </a:p>
          <a:p>
            <a:endParaRPr lang="en-US" sz="180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 err="1" smtClean="0"/>
              <a:t>PETra</a:t>
            </a:r>
            <a:r>
              <a:rPr lang="en-US" dirty="0" smtClean="0"/>
              <a:t> Trading </a:t>
            </a:r>
            <a:r>
              <a:rPr lang="en-US" dirty="0"/>
              <a:t>Platform and 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Distributed </a:t>
            </a:r>
            <a:r>
              <a:rPr lang="en-US" dirty="0"/>
              <a:t>Ledger Architecture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35649965" y="17604720"/>
            <a:ext cx="1844040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800" dirty="0" err="1" smtClean="0">
                <a:latin typeface="Verdana" charset="0"/>
                <a:ea typeface="Verdana" charset="0"/>
                <a:cs typeface="Verdana" charset="0"/>
              </a:rPr>
              <a:t>PETra</a:t>
            </a:r>
            <a:endParaRPr lang="en-US" sz="3800" dirty="0">
              <a:latin typeface="Verdana" charset="0"/>
              <a:ea typeface="Verdana" charset="0"/>
              <a:cs typeface="Verdana" charset="0"/>
            </a:endParaRPr>
          </a:p>
        </p:txBody>
      </p:sp>
      <p:sp>
        <p:nvSpPr>
          <p:cNvPr id="6" name="Shape 334"/>
          <p:cNvSpPr/>
          <p:nvPr/>
        </p:nvSpPr>
        <p:spPr>
          <a:xfrm>
            <a:off x="457200" y="2455755"/>
            <a:ext cx="2589667" cy="604800"/>
          </a:xfrm>
          <a:prstGeom prst="rect">
            <a:avLst/>
          </a:prstGeom>
          <a:gradFill>
            <a:gsLst>
              <a:gs pos="0">
                <a:srgbClr val="CA9E42"/>
              </a:gs>
              <a:gs pos="100000">
                <a:srgbClr val="FFD99A"/>
              </a:gs>
            </a:gsLst>
            <a:lin ang="16200000" scaled="0"/>
          </a:gradFill>
          <a:ln w="9525" cap="flat" cmpd="sng">
            <a:solidFill>
              <a:srgbClr val="BB9952"/>
            </a:solidFill>
            <a:prstDash val="solid"/>
            <a:round/>
            <a:headEnd type="none" w="med" len="med"/>
            <a:tailEnd type="none" w="med" len="med"/>
          </a:ln>
          <a:effectLst>
            <a:outerShdw blurRad="39999" dist="23000" dir="5400000" rotWithShape="0">
              <a:srgbClr val="000000">
                <a:alpha val="34509"/>
              </a:srgbClr>
            </a:outerShdw>
          </a:effectLst>
        </p:spPr>
        <p:txBody>
          <a:bodyPr lIns="91425" tIns="91425" rIns="91425" bIns="91425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buClr>
                <a:schemeClr val="dk1"/>
              </a:buClr>
              <a:buFont typeface="Calibri"/>
              <a:buNone/>
            </a:pPr>
            <a:endParaRPr sz="18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" name="Shape 335"/>
          <p:cNvSpPr txBox="1"/>
          <p:nvPr/>
        </p:nvSpPr>
        <p:spPr>
          <a:xfrm>
            <a:off x="457199" y="2455755"/>
            <a:ext cx="2589667" cy="604800"/>
          </a:xfrm>
          <a:prstGeom prst="rect">
            <a:avLst/>
          </a:prstGeom>
          <a:noFill/>
          <a:ln>
            <a:noFill/>
          </a:ln>
        </p:spPr>
        <p:txBody>
          <a:bodyPr lIns="149350" tIns="85325" rIns="149350" bIns="85325" anchor="ctr" anchorCtr="0">
            <a:noAutofit/>
          </a:bodyPr>
          <a:lstStyle/>
          <a:p>
            <a:pPr marL="0" marR="0" lvl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ct val="25000"/>
              <a:buFont typeface="Calibri"/>
              <a:buNone/>
            </a:pPr>
            <a:r>
              <a:rPr lang="en-US" sz="2100" dirty="0" smtClean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id Storage</a:t>
            </a:r>
            <a:endParaRPr lang="en-US" sz="2100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" name="Shape 336"/>
          <p:cNvSpPr/>
          <p:nvPr/>
        </p:nvSpPr>
        <p:spPr>
          <a:xfrm>
            <a:off x="457200" y="3060556"/>
            <a:ext cx="2589667" cy="2651669"/>
          </a:xfrm>
          <a:prstGeom prst="rect">
            <a:avLst/>
          </a:prstGeom>
          <a:solidFill>
            <a:srgbClr val="E5DECE">
              <a:alpha val="89411"/>
            </a:srgbClr>
          </a:solidFill>
          <a:ln w="9525" cap="flat" cmpd="sng">
            <a:solidFill>
              <a:srgbClr val="E5DECE">
                <a:alpha val="89411"/>
              </a:srgbClr>
            </a:solidFill>
            <a:prstDash val="solid"/>
            <a:round/>
            <a:headEnd type="none" w="med" len="med"/>
            <a:tailEnd type="none" w="med" len="med"/>
          </a:ln>
        </p:spPr>
        <p:txBody>
          <a:bodyPr lIns="91425" tIns="91425" rIns="91425" bIns="91425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buClr>
                <a:schemeClr val="dk1"/>
              </a:buClr>
              <a:buFont typeface="Calibri"/>
              <a:buNone/>
            </a:pPr>
            <a:endParaRPr sz="18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" name="Shape 337"/>
          <p:cNvSpPr txBox="1"/>
          <p:nvPr/>
        </p:nvSpPr>
        <p:spPr>
          <a:xfrm>
            <a:off x="457200" y="3060556"/>
            <a:ext cx="2589667" cy="2651669"/>
          </a:xfrm>
          <a:prstGeom prst="rect">
            <a:avLst/>
          </a:prstGeom>
          <a:noFill/>
          <a:ln>
            <a:noFill/>
          </a:ln>
        </p:spPr>
        <p:txBody>
          <a:bodyPr lIns="112000" tIns="112000" rIns="149350" bIns="168000" anchor="t" anchorCtr="0">
            <a:noAutofit/>
          </a:bodyPr>
          <a:lstStyle/>
          <a:p>
            <a:pPr marL="228600" marR="0" lvl="1" indent="-22860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ct val="100000"/>
              <a:buFont typeface="Calibri"/>
              <a:buChar char="•"/>
            </a:pPr>
            <a:r>
              <a:rPr lang="en-US" sz="21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y serving as a database for bids, enables prosumers to find trade partners without communicating with all potential partners</a:t>
            </a:r>
          </a:p>
        </p:txBody>
      </p:sp>
    </p:spTree>
    <p:extLst>
      <p:ext uri="{BB962C8B-B14F-4D97-AF65-F5344CB8AC3E}">
        <p14:creationId xmlns:p14="http://schemas.microsoft.com/office/powerpoint/2010/main" val="30729526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94643" y="1117343"/>
            <a:ext cx="8398907" cy="4525963"/>
          </a:xfrm>
        </p:spPr>
        <p:txBody>
          <a:bodyPr>
            <a:noAutofit/>
          </a:bodyPr>
          <a:lstStyle/>
          <a:p>
            <a:r>
              <a:rPr lang="en-US" sz="1800" dirty="0">
                <a:latin typeface="Verdana" charset="0"/>
                <a:ea typeface="Verdana" charset="0"/>
                <a:cs typeface="Verdana" charset="0"/>
              </a:rPr>
              <a:t>We introduce </a:t>
            </a:r>
            <a:r>
              <a:rPr lang="en-US" sz="1800" b="1" dirty="0" err="1">
                <a:latin typeface="Verdana" charset="0"/>
                <a:ea typeface="Verdana" charset="0"/>
                <a:cs typeface="Verdana" charset="0"/>
              </a:rPr>
              <a:t>PETra</a:t>
            </a:r>
            <a:r>
              <a:rPr lang="en-US" sz="1800" dirty="0">
                <a:latin typeface="Verdana" charset="0"/>
                <a:ea typeface="Verdana" charset="0"/>
                <a:cs typeface="Verdana" charset="0"/>
              </a:rPr>
              <a:t>, a </a:t>
            </a:r>
            <a:r>
              <a:rPr lang="en-US" sz="1800" dirty="0" err="1">
                <a:latin typeface="Verdana" charset="0"/>
                <a:ea typeface="Verdana" charset="0"/>
                <a:cs typeface="Verdana" charset="0"/>
              </a:rPr>
              <a:t>blockchain</a:t>
            </a:r>
            <a:r>
              <a:rPr lang="en-US" sz="1800" dirty="0">
                <a:latin typeface="Verdana" charset="0"/>
                <a:ea typeface="Verdana" charset="0"/>
                <a:cs typeface="Verdana" charset="0"/>
              </a:rPr>
              <a:t>-based solution that enables consumers to trade energy without sacrificing their </a:t>
            </a:r>
            <a:r>
              <a:rPr lang="en-US" sz="1800" b="1" dirty="0">
                <a:latin typeface="Verdana" charset="0"/>
                <a:ea typeface="Verdana" charset="0"/>
                <a:cs typeface="Verdana" charset="0"/>
              </a:rPr>
              <a:t>privacy</a:t>
            </a:r>
            <a:r>
              <a:rPr lang="en-US" sz="1800" dirty="0">
                <a:latin typeface="Verdana" charset="0"/>
                <a:ea typeface="Verdana" charset="0"/>
                <a:cs typeface="Verdana" charset="0"/>
              </a:rPr>
              <a:t> and provides </a:t>
            </a:r>
            <a:r>
              <a:rPr lang="en-US" sz="1800" b="1" dirty="0">
                <a:latin typeface="Verdana" charset="0"/>
                <a:ea typeface="Verdana" charset="0"/>
                <a:cs typeface="Verdana" charset="0"/>
              </a:rPr>
              <a:t>safety</a:t>
            </a:r>
            <a:r>
              <a:rPr lang="en-US" sz="1800" dirty="0">
                <a:latin typeface="Verdana" charset="0"/>
                <a:ea typeface="Verdana" charset="0"/>
                <a:cs typeface="Verdana" charset="0"/>
              </a:rPr>
              <a:t> and </a:t>
            </a:r>
            <a:r>
              <a:rPr lang="en-US" sz="1800" b="1" dirty="0">
                <a:latin typeface="Verdana" charset="0"/>
                <a:ea typeface="Verdana" charset="0"/>
                <a:cs typeface="Verdana" charset="0"/>
              </a:rPr>
              <a:t>security</a:t>
            </a:r>
            <a:r>
              <a:rPr lang="en-US" sz="1800" dirty="0">
                <a:latin typeface="Verdana" charset="0"/>
                <a:ea typeface="Verdana" charset="0"/>
                <a:cs typeface="Verdana" charset="0"/>
              </a:rPr>
              <a:t> for the grid. </a:t>
            </a:r>
            <a:br>
              <a:rPr lang="en-US" sz="1800" dirty="0">
                <a:latin typeface="Verdana" charset="0"/>
                <a:ea typeface="Verdana" charset="0"/>
                <a:cs typeface="Verdana" charset="0"/>
              </a:rPr>
            </a:br>
            <a:r>
              <a:rPr lang="en-US" sz="1800" dirty="0">
                <a:latin typeface="Verdana" charset="0"/>
                <a:ea typeface="Verdana" charset="0"/>
                <a:cs typeface="Verdana" charset="0"/>
              </a:rPr>
              <a:t>It provides the following:</a:t>
            </a:r>
          </a:p>
          <a:p>
            <a:endParaRPr lang="en-US" sz="1800" dirty="0"/>
          </a:p>
          <a:p>
            <a:endParaRPr lang="en-US" sz="180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 err="1"/>
              <a:t>PETra</a:t>
            </a:r>
            <a:r>
              <a:rPr lang="en-US" dirty="0"/>
              <a:t> Trading Platform and 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Distributed </a:t>
            </a:r>
            <a:r>
              <a:rPr lang="en-US" dirty="0"/>
              <a:t>Ledger Architecture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35649965" y="17604720"/>
            <a:ext cx="1844040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800" dirty="0" err="1" smtClean="0">
                <a:latin typeface="Verdana" charset="0"/>
                <a:ea typeface="Verdana" charset="0"/>
                <a:cs typeface="Verdana" charset="0"/>
              </a:rPr>
              <a:t>PETra</a:t>
            </a:r>
            <a:endParaRPr lang="en-US" sz="3800" dirty="0">
              <a:latin typeface="Verdana" charset="0"/>
              <a:ea typeface="Verdana" charset="0"/>
              <a:cs typeface="Verdana" charset="0"/>
            </a:endParaRPr>
          </a:p>
        </p:txBody>
      </p:sp>
      <p:sp>
        <p:nvSpPr>
          <p:cNvPr id="6" name="Shape 334"/>
          <p:cNvSpPr/>
          <p:nvPr/>
        </p:nvSpPr>
        <p:spPr>
          <a:xfrm>
            <a:off x="457200" y="2455755"/>
            <a:ext cx="2589667" cy="604800"/>
          </a:xfrm>
          <a:prstGeom prst="rect">
            <a:avLst/>
          </a:prstGeom>
          <a:gradFill>
            <a:gsLst>
              <a:gs pos="0">
                <a:srgbClr val="CA9E42"/>
              </a:gs>
              <a:gs pos="100000">
                <a:srgbClr val="FFD99A"/>
              </a:gs>
            </a:gsLst>
            <a:lin ang="16200000" scaled="0"/>
          </a:gradFill>
          <a:ln w="9525" cap="flat" cmpd="sng">
            <a:solidFill>
              <a:srgbClr val="BB9952"/>
            </a:solidFill>
            <a:prstDash val="solid"/>
            <a:round/>
            <a:headEnd type="none" w="med" len="med"/>
            <a:tailEnd type="none" w="med" len="med"/>
          </a:ln>
          <a:effectLst>
            <a:outerShdw blurRad="39999" dist="23000" dir="5400000" rotWithShape="0">
              <a:srgbClr val="000000">
                <a:alpha val="34509"/>
              </a:srgbClr>
            </a:outerShdw>
          </a:effectLst>
        </p:spPr>
        <p:txBody>
          <a:bodyPr lIns="91425" tIns="91425" rIns="91425" bIns="91425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buClr>
                <a:schemeClr val="dk1"/>
              </a:buClr>
              <a:buFont typeface="Calibri"/>
              <a:buNone/>
            </a:pPr>
            <a:endParaRPr sz="18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" name="Shape 335"/>
          <p:cNvSpPr txBox="1"/>
          <p:nvPr/>
        </p:nvSpPr>
        <p:spPr>
          <a:xfrm>
            <a:off x="457200" y="2455755"/>
            <a:ext cx="2589667" cy="604800"/>
          </a:xfrm>
          <a:prstGeom prst="rect">
            <a:avLst/>
          </a:prstGeom>
          <a:noFill/>
          <a:ln>
            <a:noFill/>
          </a:ln>
        </p:spPr>
        <p:txBody>
          <a:bodyPr lIns="149350" tIns="85325" rIns="149350" bIns="85325" anchor="ctr" anchorCtr="0">
            <a:noAutofit/>
          </a:bodyPr>
          <a:lstStyle/>
          <a:p>
            <a:pPr lvl="0" algn="ctr">
              <a:lnSpc>
                <a:spcPct val="90000"/>
              </a:lnSpc>
              <a:buClr>
                <a:schemeClr val="dk1"/>
              </a:buClr>
              <a:buSzPct val="25000"/>
            </a:pPr>
            <a:r>
              <a:rPr lang="en-US" sz="2100" dirty="0">
                <a:solidFill>
                  <a:schemeClr val="dk1"/>
                </a:solidFill>
                <a:ea typeface="Calibri"/>
                <a:cs typeface="Calibri"/>
                <a:sym typeface="Calibri"/>
              </a:rPr>
              <a:t>Bid Storage</a:t>
            </a:r>
          </a:p>
        </p:txBody>
      </p:sp>
      <p:sp>
        <p:nvSpPr>
          <p:cNvPr id="8" name="Shape 336"/>
          <p:cNvSpPr/>
          <p:nvPr/>
        </p:nvSpPr>
        <p:spPr>
          <a:xfrm>
            <a:off x="457200" y="3060556"/>
            <a:ext cx="2589667" cy="2651669"/>
          </a:xfrm>
          <a:prstGeom prst="rect">
            <a:avLst/>
          </a:prstGeom>
          <a:solidFill>
            <a:srgbClr val="E5DECE">
              <a:alpha val="89411"/>
            </a:srgbClr>
          </a:solidFill>
          <a:ln w="9525" cap="flat" cmpd="sng">
            <a:solidFill>
              <a:srgbClr val="E5DECE">
                <a:alpha val="89411"/>
              </a:srgbClr>
            </a:solidFill>
            <a:prstDash val="solid"/>
            <a:round/>
            <a:headEnd type="none" w="med" len="med"/>
            <a:tailEnd type="none" w="med" len="med"/>
          </a:ln>
        </p:spPr>
        <p:txBody>
          <a:bodyPr lIns="91425" tIns="91425" rIns="91425" bIns="91425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buClr>
                <a:schemeClr val="dk1"/>
              </a:buClr>
              <a:buFont typeface="Calibri"/>
              <a:buNone/>
            </a:pPr>
            <a:endParaRPr sz="18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" name="Shape 337"/>
          <p:cNvSpPr txBox="1"/>
          <p:nvPr/>
        </p:nvSpPr>
        <p:spPr>
          <a:xfrm>
            <a:off x="457200" y="3060556"/>
            <a:ext cx="2589667" cy="2651669"/>
          </a:xfrm>
          <a:prstGeom prst="rect">
            <a:avLst/>
          </a:prstGeom>
          <a:noFill/>
          <a:ln>
            <a:noFill/>
          </a:ln>
        </p:spPr>
        <p:txBody>
          <a:bodyPr lIns="112000" tIns="112000" rIns="149350" bIns="168000" anchor="t" anchorCtr="0">
            <a:noAutofit/>
          </a:bodyPr>
          <a:lstStyle/>
          <a:p>
            <a:pPr marL="228600" marR="0" lvl="1" indent="-22860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ct val="100000"/>
              <a:buFont typeface="Calibri"/>
              <a:buChar char="•"/>
            </a:pPr>
            <a:r>
              <a:rPr lang="en-US" sz="21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y serving as a database for bids, enables prosumers to find trade partners without communicating with all potential partners</a:t>
            </a:r>
          </a:p>
        </p:txBody>
      </p:sp>
      <p:sp>
        <p:nvSpPr>
          <p:cNvPr id="10" name="Shape 330"/>
          <p:cNvSpPr/>
          <p:nvPr/>
        </p:nvSpPr>
        <p:spPr>
          <a:xfrm>
            <a:off x="3399522" y="2455755"/>
            <a:ext cx="2589667" cy="604800"/>
          </a:xfrm>
          <a:prstGeom prst="rect">
            <a:avLst/>
          </a:prstGeom>
          <a:gradFill>
            <a:gsLst>
              <a:gs pos="0">
                <a:srgbClr val="D03F3B"/>
              </a:gs>
              <a:gs pos="100000">
                <a:srgbClr val="FF9995"/>
              </a:gs>
            </a:gsLst>
            <a:lin ang="16200000" scaled="0"/>
          </a:gradFill>
          <a:ln w="9525" cap="flat" cmpd="sng">
            <a:solidFill>
              <a:srgbClr val="BF504D"/>
            </a:solidFill>
            <a:prstDash val="solid"/>
            <a:round/>
            <a:headEnd type="none" w="med" len="med"/>
            <a:tailEnd type="none" w="med" len="med"/>
          </a:ln>
          <a:effectLst>
            <a:outerShdw blurRad="39999" dist="23000" dir="5400000" rotWithShape="0">
              <a:srgbClr val="000000">
                <a:alpha val="34509"/>
              </a:srgbClr>
            </a:outerShdw>
          </a:effectLst>
        </p:spPr>
        <p:txBody>
          <a:bodyPr lIns="91425" tIns="91425" rIns="91425" bIns="91425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buClr>
                <a:schemeClr val="dk1"/>
              </a:buClr>
              <a:buFont typeface="Calibri"/>
              <a:buNone/>
            </a:pPr>
            <a:endParaRPr sz="18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" name="Shape 331"/>
          <p:cNvSpPr txBox="1"/>
          <p:nvPr/>
        </p:nvSpPr>
        <p:spPr>
          <a:xfrm>
            <a:off x="3399522" y="2455755"/>
            <a:ext cx="2589667" cy="604800"/>
          </a:xfrm>
          <a:prstGeom prst="rect">
            <a:avLst/>
          </a:prstGeom>
          <a:noFill/>
          <a:ln>
            <a:noFill/>
          </a:ln>
        </p:spPr>
        <p:txBody>
          <a:bodyPr lIns="149350" tIns="85325" rIns="149350" bIns="85325" anchor="ctr" anchorCtr="0">
            <a:noAutofit/>
          </a:bodyPr>
          <a:lstStyle/>
          <a:p>
            <a:pPr marL="0" marR="0" lvl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ct val="25000"/>
              <a:buFont typeface="Calibri"/>
              <a:buNone/>
            </a:pPr>
            <a:r>
              <a:rPr lang="en-US" sz="2100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Distributed Ledger</a:t>
            </a:r>
          </a:p>
        </p:txBody>
      </p:sp>
      <p:sp>
        <p:nvSpPr>
          <p:cNvPr id="12" name="Shape 332"/>
          <p:cNvSpPr/>
          <p:nvPr/>
        </p:nvSpPr>
        <p:spPr>
          <a:xfrm>
            <a:off x="3399522" y="3060556"/>
            <a:ext cx="2589667" cy="2651669"/>
          </a:xfrm>
          <a:prstGeom prst="rect">
            <a:avLst/>
          </a:prstGeom>
          <a:solidFill>
            <a:srgbClr val="E7CFCF">
              <a:alpha val="89411"/>
            </a:srgbClr>
          </a:solidFill>
          <a:ln w="9525" cap="flat" cmpd="sng">
            <a:solidFill>
              <a:srgbClr val="E7CFCF">
                <a:alpha val="89411"/>
              </a:srgbClr>
            </a:solidFill>
            <a:prstDash val="solid"/>
            <a:round/>
            <a:headEnd type="none" w="med" len="med"/>
            <a:tailEnd type="none" w="med" len="med"/>
          </a:ln>
        </p:spPr>
        <p:txBody>
          <a:bodyPr lIns="91425" tIns="91425" rIns="91425" bIns="91425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buClr>
                <a:schemeClr val="dk1"/>
              </a:buClr>
              <a:buFont typeface="Calibri"/>
              <a:buNone/>
            </a:pPr>
            <a:endParaRPr sz="18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" name="Shape 333"/>
          <p:cNvSpPr txBox="1"/>
          <p:nvPr/>
        </p:nvSpPr>
        <p:spPr>
          <a:xfrm>
            <a:off x="3399522" y="3060556"/>
            <a:ext cx="2589667" cy="2651669"/>
          </a:xfrm>
          <a:prstGeom prst="rect">
            <a:avLst/>
          </a:prstGeom>
          <a:noFill/>
          <a:ln>
            <a:noFill/>
          </a:ln>
        </p:spPr>
        <p:txBody>
          <a:bodyPr lIns="112000" tIns="112000" rIns="149350" bIns="168000" anchor="t" anchorCtr="0">
            <a:noAutofit/>
          </a:bodyPr>
          <a:lstStyle/>
          <a:p>
            <a:pPr marL="228600" lvl="1" indent="-228600">
              <a:lnSpc>
                <a:spcPct val="90000"/>
              </a:lnSpc>
              <a:buClr>
                <a:schemeClr val="dk1"/>
              </a:buClr>
              <a:buSzPct val="100000"/>
              <a:buFont typeface="Calibri"/>
              <a:buChar char="•"/>
            </a:pPr>
            <a:r>
              <a:rPr lang="en-US" sz="2100" dirty="0">
                <a:solidFill>
                  <a:schemeClr val="dk1"/>
                </a:solidFill>
                <a:ea typeface="Calibri"/>
                <a:cs typeface="Calibri"/>
                <a:sym typeface="Calibri"/>
              </a:rPr>
              <a:t>stores transactions that specify trades, energy production and </a:t>
            </a:r>
            <a:r>
              <a:rPr lang="en-US" sz="2100" dirty="0" smtClean="0">
                <a:solidFill>
                  <a:schemeClr val="dk1"/>
                </a:solidFill>
                <a:ea typeface="Calibri"/>
                <a:cs typeface="Calibri"/>
                <a:sym typeface="Calibri"/>
              </a:rPr>
              <a:t>consumption values, </a:t>
            </a:r>
            <a:r>
              <a:rPr lang="en-US" sz="2100" dirty="0">
                <a:solidFill>
                  <a:schemeClr val="dk1"/>
                </a:solidFill>
                <a:ea typeface="Calibri"/>
                <a:cs typeface="Calibri"/>
                <a:sym typeface="Calibri"/>
              </a:rPr>
              <a:t>financial records, and regulatory policies for the microgrid</a:t>
            </a:r>
          </a:p>
        </p:txBody>
      </p:sp>
    </p:spTree>
    <p:extLst>
      <p:ext uri="{BB962C8B-B14F-4D97-AF65-F5344CB8AC3E}">
        <p14:creationId xmlns:p14="http://schemas.microsoft.com/office/powerpoint/2010/main" val="21453985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94643" y="1117343"/>
            <a:ext cx="8398907" cy="4525963"/>
          </a:xfrm>
        </p:spPr>
        <p:txBody>
          <a:bodyPr>
            <a:noAutofit/>
          </a:bodyPr>
          <a:lstStyle/>
          <a:p>
            <a:r>
              <a:rPr lang="en-US" sz="1800" dirty="0">
                <a:latin typeface="Verdana" charset="0"/>
                <a:ea typeface="Verdana" charset="0"/>
                <a:cs typeface="Verdana" charset="0"/>
              </a:rPr>
              <a:t>We introduce </a:t>
            </a:r>
            <a:r>
              <a:rPr lang="en-US" sz="1800" b="1" dirty="0" err="1">
                <a:latin typeface="Verdana" charset="0"/>
                <a:ea typeface="Verdana" charset="0"/>
                <a:cs typeface="Verdana" charset="0"/>
              </a:rPr>
              <a:t>PETra</a:t>
            </a:r>
            <a:r>
              <a:rPr lang="en-US" sz="1800" dirty="0">
                <a:latin typeface="Verdana" charset="0"/>
                <a:ea typeface="Verdana" charset="0"/>
                <a:cs typeface="Verdana" charset="0"/>
              </a:rPr>
              <a:t>, a </a:t>
            </a:r>
            <a:r>
              <a:rPr lang="en-US" sz="1800" dirty="0" err="1">
                <a:latin typeface="Verdana" charset="0"/>
                <a:ea typeface="Verdana" charset="0"/>
                <a:cs typeface="Verdana" charset="0"/>
              </a:rPr>
              <a:t>blockchain</a:t>
            </a:r>
            <a:r>
              <a:rPr lang="en-US" sz="1800" dirty="0">
                <a:latin typeface="Verdana" charset="0"/>
                <a:ea typeface="Verdana" charset="0"/>
                <a:cs typeface="Verdana" charset="0"/>
              </a:rPr>
              <a:t>-based solution that enables consumers to trade energy without sacrificing their </a:t>
            </a:r>
            <a:r>
              <a:rPr lang="en-US" sz="1800" b="1" dirty="0">
                <a:latin typeface="Verdana" charset="0"/>
                <a:ea typeface="Verdana" charset="0"/>
                <a:cs typeface="Verdana" charset="0"/>
              </a:rPr>
              <a:t>privacy</a:t>
            </a:r>
            <a:r>
              <a:rPr lang="en-US" sz="1800" dirty="0">
                <a:latin typeface="Verdana" charset="0"/>
                <a:ea typeface="Verdana" charset="0"/>
                <a:cs typeface="Verdana" charset="0"/>
              </a:rPr>
              <a:t> and provides </a:t>
            </a:r>
            <a:r>
              <a:rPr lang="en-US" sz="1800" b="1" dirty="0">
                <a:latin typeface="Verdana" charset="0"/>
                <a:ea typeface="Verdana" charset="0"/>
                <a:cs typeface="Verdana" charset="0"/>
              </a:rPr>
              <a:t>safety</a:t>
            </a:r>
            <a:r>
              <a:rPr lang="en-US" sz="1800" dirty="0">
                <a:latin typeface="Verdana" charset="0"/>
                <a:ea typeface="Verdana" charset="0"/>
                <a:cs typeface="Verdana" charset="0"/>
              </a:rPr>
              <a:t> and </a:t>
            </a:r>
            <a:r>
              <a:rPr lang="en-US" sz="1800" b="1" dirty="0">
                <a:latin typeface="Verdana" charset="0"/>
                <a:ea typeface="Verdana" charset="0"/>
                <a:cs typeface="Verdana" charset="0"/>
              </a:rPr>
              <a:t>security</a:t>
            </a:r>
            <a:r>
              <a:rPr lang="en-US" sz="1800" dirty="0">
                <a:latin typeface="Verdana" charset="0"/>
                <a:ea typeface="Verdana" charset="0"/>
                <a:cs typeface="Verdana" charset="0"/>
              </a:rPr>
              <a:t> for the grid. </a:t>
            </a:r>
            <a:br>
              <a:rPr lang="en-US" sz="1800" dirty="0">
                <a:latin typeface="Verdana" charset="0"/>
                <a:ea typeface="Verdana" charset="0"/>
                <a:cs typeface="Verdana" charset="0"/>
              </a:rPr>
            </a:br>
            <a:r>
              <a:rPr lang="en-US" sz="1800" dirty="0">
                <a:latin typeface="Verdana" charset="0"/>
                <a:ea typeface="Verdana" charset="0"/>
                <a:cs typeface="Verdana" charset="0"/>
              </a:rPr>
              <a:t>It provides the following:</a:t>
            </a:r>
          </a:p>
          <a:p>
            <a:endParaRPr lang="en-US" sz="1800" dirty="0"/>
          </a:p>
          <a:p>
            <a:endParaRPr lang="en-US" sz="180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 err="1"/>
              <a:t>PETra</a:t>
            </a:r>
            <a:r>
              <a:rPr lang="en-US" dirty="0"/>
              <a:t> Trading Platform and 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Distributed </a:t>
            </a:r>
            <a:r>
              <a:rPr lang="en-US" dirty="0"/>
              <a:t>Ledger Architecture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35649965" y="17604720"/>
            <a:ext cx="1844040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800" dirty="0" err="1" smtClean="0">
                <a:latin typeface="Verdana" charset="0"/>
                <a:ea typeface="Verdana" charset="0"/>
                <a:cs typeface="Verdana" charset="0"/>
              </a:rPr>
              <a:t>PETra</a:t>
            </a:r>
            <a:endParaRPr lang="en-US" sz="3800" dirty="0">
              <a:latin typeface="Verdana" charset="0"/>
              <a:ea typeface="Verdana" charset="0"/>
              <a:cs typeface="Verdana" charset="0"/>
            </a:endParaRPr>
          </a:p>
        </p:txBody>
      </p:sp>
      <p:sp>
        <p:nvSpPr>
          <p:cNvPr id="6" name="Shape 334"/>
          <p:cNvSpPr/>
          <p:nvPr/>
        </p:nvSpPr>
        <p:spPr>
          <a:xfrm>
            <a:off x="457200" y="2455755"/>
            <a:ext cx="2589667" cy="604800"/>
          </a:xfrm>
          <a:prstGeom prst="rect">
            <a:avLst/>
          </a:prstGeom>
          <a:gradFill>
            <a:gsLst>
              <a:gs pos="0">
                <a:srgbClr val="CA9E42"/>
              </a:gs>
              <a:gs pos="100000">
                <a:srgbClr val="FFD99A"/>
              </a:gs>
            </a:gsLst>
            <a:lin ang="16200000" scaled="0"/>
          </a:gradFill>
          <a:ln w="9525" cap="flat" cmpd="sng">
            <a:solidFill>
              <a:srgbClr val="BB9952"/>
            </a:solidFill>
            <a:prstDash val="solid"/>
            <a:round/>
            <a:headEnd type="none" w="med" len="med"/>
            <a:tailEnd type="none" w="med" len="med"/>
          </a:ln>
          <a:effectLst>
            <a:outerShdw blurRad="39999" dist="23000" dir="5400000" rotWithShape="0">
              <a:srgbClr val="000000">
                <a:alpha val="34509"/>
              </a:srgbClr>
            </a:outerShdw>
          </a:effectLst>
        </p:spPr>
        <p:txBody>
          <a:bodyPr lIns="91425" tIns="91425" rIns="91425" bIns="91425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buClr>
                <a:schemeClr val="dk1"/>
              </a:buClr>
              <a:buFont typeface="Calibri"/>
              <a:buNone/>
            </a:pPr>
            <a:endParaRPr sz="18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" name="Shape 335"/>
          <p:cNvSpPr txBox="1"/>
          <p:nvPr/>
        </p:nvSpPr>
        <p:spPr>
          <a:xfrm>
            <a:off x="457200" y="2455755"/>
            <a:ext cx="2589667" cy="604800"/>
          </a:xfrm>
          <a:prstGeom prst="rect">
            <a:avLst/>
          </a:prstGeom>
          <a:noFill/>
          <a:ln>
            <a:noFill/>
          </a:ln>
        </p:spPr>
        <p:txBody>
          <a:bodyPr lIns="149350" tIns="85325" rIns="149350" bIns="85325" anchor="ctr" anchorCtr="0">
            <a:noAutofit/>
          </a:bodyPr>
          <a:lstStyle/>
          <a:p>
            <a:pPr lvl="0" algn="ctr">
              <a:lnSpc>
                <a:spcPct val="90000"/>
              </a:lnSpc>
              <a:buClr>
                <a:schemeClr val="dk1"/>
              </a:buClr>
              <a:buSzPct val="25000"/>
            </a:pPr>
            <a:r>
              <a:rPr lang="en-US" sz="2100" dirty="0">
                <a:solidFill>
                  <a:schemeClr val="dk1"/>
                </a:solidFill>
                <a:ea typeface="Calibri"/>
                <a:cs typeface="Calibri"/>
                <a:sym typeface="Calibri"/>
              </a:rPr>
              <a:t>Bid Storage</a:t>
            </a:r>
          </a:p>
        </p:txBody>
      </p:sp>
      <p:sp>
        <p:nvSpPr>
          <p:cNvPr id="8" name="Shape 336"/>
          <p:cNvSpPr/>
          <p:nvPr/>
        </p:nvSpPr>
        <p:spPr>
          <a:xfrm>
            <a:off x="457200" y="3060556"/>
            <a:ext cx="2589667" cy="2651669"/>
          </a:xfrm>
          <a:prstGeom prst="rect">
            <a:avLst/>
          </a:prstGeom>
          <a:solidFill>
            <a:srgbClr val="E5DECE">
              <a:alpha val="89411"/>
            </a:srgbClr>
          </a:solidFill>
          <a:ln w="9525" cap="flat" cmpd="sng">
            <a:solidFill>
              <a:srgbClr val="E5DECE">
                <a:alpha val="89411"/>
              </a:srgbClr>
            </a:solidFill>
            <a:prstDash val="solid"/>
            <a:round/>
            <a:headEnd type="none" w="med" len="med"/>
            <a:tailEnd type="none" w="med" len="med"/>
          </a:ln>
        </p:spPr>
        <p:txBody>
          <a:bodyPr lIns="91425" tIns="91425" rIns="91425" bIns="91425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buClr>
                <a:schemeClr val="dk1"/>
              </a:buClr>
              <a:buFont typeface="Calibri"/>
              <a:buNone/>
            </a:pPr>
            <a:endParaRPr sz="18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" name="Shape 337"/>
          <p:cNvSpPr txBox="1"/>
          <p:nvPr/>
        </p:nvSpPr>
        <p:spPr>
          <a:xfrm>
            <a:off x="457200" y="3060556"/>
            <a:ext cx="2589667" cy="2651669"/>
          </a:xfrm>
          <a:prstGeom prst="rect">
            <a:avLst/>
          </a:prstGeom>
          <a:noFill/>
          <a:ln>
            <a:noFill/>
          </a:ln>
        </p:spPr>
        <p:txBody>
          <a:bodyPr lIns="112000" tIns="112000" rIns="149350" bIns="168000" anchor="t" anchorCtr="0">
            <a:noAutofit/>
          </a:bodyPr>
          <a:lstStyle/>
          <a:p>
            <a:pPr marL="228600" marR="0" lvl="1" indent="-22860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ct val="100000"/>
              <a:buFont typeface="Calibri"/>
              <a:buChar char="•"/>
            </a:pPr>
            <a:r>
              <a:rPr lang="en-US" sz="21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y serving as a database for bids, enables prosumers to find trade partners without communicating with all potential partners</a:t>
            </a:r>
          </a:p>
        </p:txBody>
      </p:sp>
      <p:sp>
        <p:nvSpPr>
          <p:cNvPr id="16" name="Shape 338"/>
          <p:cNvSpPr/>
          <p:nvPr/>
        </p:nvSpPr>
        <p:spPr>
          <a:xfrm>
            <a:off x="6378287" y="2455755"/>
            <a:ext cx="2589667" cy="604800"/>
          </a:xfrm>
          <a:prstGeom prst="rect">
            <a:avLst/>
          </a:prstGeom>
          <a:gradFill>
            <a:gsLst>
              <a:gs pos="0">
                <a:srgbClr val="9DC749"/>
              </a:gs>
              <a:gs pos="100000">
                <a:srgbClr val="D9FF9D"/>
              </a:gs>
            </a:gsLst>
            <a:lin ang="16200000" scaled="0"/>
          </a:gradFill>
          <a:ln w="9525" cap="flat" cmpd="sng">
            <a:solidFill>
              <a:srgbClr val="99B958"/>
            </a:solidFill>
            <a:prstDash val="solid"/>
            <a:round/>
            <a:headEnd type="none" w="med" len="med"/>
            <a:tailEnd type="none" w="med" len="med"/>
          </a:ln>
          <a:effectLst>
            <a:outerShdw blurRad="39999" dist="23000" dir="5400000" rotWithShape="0">
              <a:srgbClr val="000000">
                <a:alpha val="34509"/>
              </a:srgbClr>
            </a:outerShdw>
          </a:effectLst>
        </p:spPr>
        <p:txBody>
          <a:bodyPr lIns="91425" tIns="91425" rIns="91425" bIns="91425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buClr>
                <a:schemeClr val="dk1"/>
              </a:buClr>
              <a:buFont typeface="Calibri"/>
              <a:buNone/>
            </a:pPr>
            <a:endParaRPr sz="18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7" name="Shape 339"/>
          <p:cNvSpPr txBox="1"/>
          <p:nvPr/>
        </p:nvSpPr>
        <p:spPr>
          <a:xfrm>
            <a:off x="6378287" y="2455755"/>
            <a:ext cx="2589667" cy="604800"/>
          </a:xfrm>
          <a:prstGeom prst="rect">
            <a:avLst/>
          </a:prstGeom>
          <a:noFill/>
          <a:ln>
            <a:noFill/>
          </a:ln>
        </p:spPr>
        <p:txBody>
          <a:bodyPr lIns="149350" tIns="85325" rIns="149350" bIns="85325" anchor="ctr" anchorCtr="0">
            <a:noAutofit/>
          </a:bodyPr>
          <a:lstStyle/>
          <a:p>
            <a:pPr marL="0" marR="0" lvl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ct val="25000"/>
              <a:buFont typeface="Calibri"/>
              <a:buNone/>
            </a:pPr>
            <a:r>
              <a:rPr lang="en-US" sz="2100" dirty="0" smtClean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ontroller (Future)</a:t>
            </a:r>
            <a:endParaRPr lang="en-US" sz="2100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8" name="Shape 340"/>
          <p:cNvSpPr/>
          <p:nvPr/>
        </p:nvSpPr>
        <p:spPr>
          <a:xfrm>
            <a:off x="6378287" y="3060556"/>
            <a:ext cx="2589667" cy="2651669"/>
          </a:xfrm>
          <a:prstGeom prst="rect">
            <a:avLst/>
          </a:prstGeom>
          <a:solidFill>
            <a:srgbClr val="DCE4CF">
              <a:alpha val="89411"/>
            </a:srgbClr>
          </a:solidFill>
          <a:ln w="9525" cap="flat" cmpd="sng">
            <a:solidFill>
              <a:srgbClr val="DCE4CF">
                <a:alpha val="89411"/>
              </a:srgbClr>
            </a:solidFill>
            <a:prstDash val="solid"/>
            <a:round/>
            <a:headEnd type="none" w="med" len="med"/>
            <a:tailEnd type="none" w="med" len="med"/>
          </a:ln>
        </p:spPr>
        <p:txBody>
          <a:bodyPr lIns="91425" tIns="91425" rIns="91425" bIns="91425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buClr>
                <a:schemeClr val="dk1"/>
              </a:buClr>
              <a:buFont typeface="Calibri"/>
              <a:buNone/>
            </a:pPr>
            <a:endParaRPr sz="18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0" name="Shape 330"/>
          <p:cNvSpPr/>
          <p:nvPr/>
        </p:nvSpPr>
        <p:spPr>
          <a:xfrm>
            <a:off x="3399522" y="2455755"/>
            <a:ext cx="2589667" cy="604800"/>
          </a:xfrm>
          <a:prstGeom prst="rect">
            <a:avLst/>
          </a:prstGeom>
          <a:gradFill>
            <a:gsLst>
              <a:gs pos="0">
                <a:srgbClr val="D03F3B"/>
              </a:gs>
              <a:gs pos="100000">
                <a:srgbClr val="FF9995"/>
              </a:gs>
            </a:gsLst>
            <a:lin ang="16200000" scaled="0"/>
          </a:gradFill>
          <a:ln w="9525" cap="flat" cmpd="sng">
            <a:solidFill>
              <a:srgbClr val="BF504D"/>
            </a:solidFill>
            <a:prstDash val="solid"/>
            <a:round/>
            <a:headEnd type="none" w="med" len="med"/>
            <a:tailEnd type="none" w="med" len="med"/>
          </a:ln>
          <a:effectLst>
            <a:outerShdw blurRad="39999" dist="23000" dir="5400000" rotWithShape="0">
              <a:srgbClr val="000000">
                <a:alpha val="34509"/>
              </a:srgbClr>
            </a:outerShdw>
          </a:effectLst>
        </p:spPr>
        <p:txBody>
          <a:bodyPr lIns="91425" tIns="91425" rIns="91425" bIns="91425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buClr>
                <a:schemeClr val="dk1"/>
              </a:buClr>
              <a:buFont typeface="Calibri"/>
              <a:buNone/>
            </a:pPr>
            <a:endParaRPr sz="18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1" name="Shape 331"/>
          <p:cNvSpPr txBox="1"/>
          <p:nvPr/>
        </p:nvSpPr>
        <p:spPr>
          <a:xfrm>
            <a:off x="3399522" y="2455755"/>
            <a:ext cx="2589667" cy="604800"/>
          </a:xfrm>
          <a:prstGeom prst="rect">
            <a:avLst/>
          </a:prstGeom>
          <a:noFill/>
          <a:ln>
            <a:noFill/>
          </a:ln>
        </p:spPr>
        <p:txBody>
          <a:bodyPr lIns="149350" tIns="85325" rIns="149350" bIns="85325" anchor="ctr" anchorCtr="0">
            <a:noAutofit/>
          </a:bodyPr>
          <a:lstStyle/>
          <a:p>
            <a:pPr marL="0" marR="0" lvl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ct val="25000"/>
              <a:buFont typeface="Calibri"/>
              <a:buNone/>
            </a:pPr>
            <a:r>
              <a:rPr lang="en-US" sz="2100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Distributed Ledger</a:t>
            </a:r>
          </a:p>
        </p:txBody>
      </p:sp>
      <p:sp>
        <p:nvSpPr>
          <p:cNvPr id="22" name="Shape 332"/>
          <p:cNvSpPr/>
          <p:nvPr/>
        </p:nvSpPr>
        <p:spPr>
          <a:xfrm>
            <a:off x="3399522" y="3060556"/>
            <a:ext cx="2589667" cy="2651669"/>
          </a:xfrm>
          <a:prstGeom prst="rect">
            <a:avLst/>
          </a:prstGeom>
          <a:solidFill>
            <a:srgbClr val="E7CFCF">
              <a:alpha val="89411"/>
            </a:srgbClr>
          </a:solidFill>
          <a:ln w="9525" cap="flat" cmpd="sng">
            <a:solidFill>
              <a:srgbClr val="E7CFCF">
                <a:alpha val="89411"/>
              </a:srgbClr>
            </a:solidFill>
            <a:prstDash val="solid"/>
            <a:round/>
            <a:headEnd type="none" w="med" len="med"/>
            <a:tailEnd type="none" w="med" len="med"/>
          </a:ln>
        </p:spPr>
        <p:txBody>
          <a:bodyPr lIns="91425" tIns="91425" rIns="91425" bIns="91425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buClr>
                <a:schemeClr val="dk1"/>
              </a:buClr>
              <a:buFont typeface="Calibri"/>
              <a:buNone/>
            </a:pPr>
            <a:endParaRPr sz="18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3" name="Shape 333"/>
          <p:cNvSpPr txBox="1"/>
          <p:nvPr/>
        </p:nvSpPr>
        <p:spPr>
          <a:xfrm>
            <a:off x="3399522" y="3060556"/>
            <a:ext cx="2589667" cy="2651669"/>
          </a:xfrm>
          <a:prstGeom prst="rect">
            <a:avLst/>
          </a:prstGeom>
          <a:noFill/>
          <a:ln>
            <a:noFill/>
          </a:ln>
        </p:spPr>
        <p:txBody>
          <a:bodyPr lIns="112000" tIns="112000" rIns="149350" bIns="168000" anchor="t" anchorCtr="0">
            <a:noAutofit/>
          </a:bodyPr>
          <a:lstStyle/>
          <a:p>
            <a:pPr marL="228600" lvl="1" indent="-228600">
              <a:lnSpc>
                <a:spcPct val="90000"/>
              </a:lnSpc>
              <a:buClr>
                <a:schemeClr val="dk1"/>
              </a:buClr>
              <a:buSzPct val="100000"/>
              <a:buFont typeface="Calibri"/>
              <a:buChar char="•"/>
            </a:pPr>
            <a:r>
              <a:rPr lang="en-US" sz="2100" dirty="0">
                <a:solidFill>
                  <a:schemeClr val="dk1"/>
                </a:solidFill>
                <a:ea typeface="Calibri"/>
                <a:cs typeface="Calibri"/>
                <a:sym typeface="Calibri"/>
              </a:rPr>
              <a:t>stores transactions that specify trades, energy production and consumption values, financial records, and regulatory policies for the microgrid</a:t>
            </a:r>
          </a:p>
        </p:txBody>
      </p:sp>
      <p:sp>
        <p:nvSpPr>
          <p:cNvPr id="24" name="Shape 341"/>
          <p:cNvSpPr txBox="1"/>
          <p:nvPr/>
        </p:nvSpPr>
        <p:spPr>
          <a:xfrm>
            <a:off x="6378287" y="3060555"/>
            <a:ext cx="2589667" cy="2651669"/>
          </a:xfrm>
          <a:prstGeom prst="rect">
            <a:avLst/>
          </a:prstGeom>
          <a:noFill/>
          <a:ln>
            <a:noFill/>
          </a:ln>
        </p:spPr>
        <p:txBody>
          <a:bodyPr lIns="112000" tIns="112000" rIns="149350" bIns="168000" anchor="t" anchorCtr="0">
            <a:noAutofit/>
          </a:bodyPr>
          <a:lstStyle/>
          <a:p>
            <a:pPr marL="228600" marR="0" lvl="1" indent="-22860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ct val="100000"/>
              <a:buFont typeface="Calibri"/>
              <a:buChar char="•"/>
            </a:pPr>
            <a:r>
              <a:rPr lang="en-US" sz="2100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</a:t>
            </a:r>
            <a:r>
              <a:rPr lang="en-US" sz="2100" b="0" i="0" u="none" strike="noStrike" cap="none" dirty="0" smtClean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abilizes </a:t>
            </a:r>
            <a:r>
              <a:rPr lang="en-US" sz="21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load within the </a:t>
            </a:r>
            <a:r>
              <a:rPr lang="en-US" sz="21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microgrid </a:t>
            </a:r>
            <a:r>
              <a:rPr lang="en-US" sz="2100" b="0" i="0" u="none" strike="noStrike" cap="none" smtClean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and </a:t>
            </a:r>
            <a:r>
              <a:rPr lang="en-US" sz="21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ontrols it based on the load in the rest of the grid</a:t>
            </a:r>
          </a:p>
        </p:txBody>
      </p:sp>
    </p:spTree>
    <p:extLst>
      <p:ext uri="{BB962C8B-B14F-4D97-AF65-F5344CB8AC3E}">
        <p14:creationId xmlns:p14="http://schemas.microsoft.com/office/powerpoint/2010/main" val="713628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94643" y="1117343"/>
            <a:ext cx="8398907" cy="4525963"/>
          </a:xfrm>
        </p:spPr>
        <p:txBody>
          <a:bodyPr>
            <a:noAutofit/>
          </a:bodyPr>
          <a:lstStyle/>
          <a:p>
            <a:r>
              <a:rPr lang="en-US" sz="1800" dirty="0">
                <a:latin typeface="Verdana" charset="0"/>
                <a:ea typeface="Verdana" charset="0"/>
                <a:cs typeface="Verdana" charset="0"/>
              </a:rPr>
              <a:t>We introduce </a:t>
            </a:r>
            <a:r>
              <a:rPr lang="en-US" sz="1800" b="1" dirty="0" err="1">
                <a:latin typeface="Verdana" charset="0"/>
                <a:ea typeface="Verdana" charset="0"/>
                <a:cs typeface="Verdana" charset="0"/>
              </a:rPr>
              <a:t>PETra</a:t>
            </a:r>
            <a:r>
              <a:rPr lang="en-US" sz="1800" dirty="0">
                <a:latin typeface="Verdana" charset="0"/>
                <a:ea typeface="Verdana" charset="0"/>
                <a:cs typeface="Verdana" charset="0"/>
              </a:rPr>
              <a:t>, a blockchain-based solution that enables consumers to trade energy without sacrificing their </a:t>
            </a:r>
            <a:r>
              <a:rPr lang="en-US" sz="1800" b="1" dirty="0">
                <a:latin typeface="Verdana" charset="0"/>
                <a:ea typeface="Verdana" charset="0"/>
                <a:cs typeface="Verdana" charset="0"/>
              </a:rPr>
              <a:t>privacy</a:t>
            </a:r>
            <a:r>
              <a:rPr lang="en-US" sz="1800" dirty="0">
                <a:latin typeface="Verdana" charset="0"/>
                <a:ea typeface="Verdana" charset="0"/>
                <a:cs typeface="Verdana" charset="0"/>
              </a:rPr>
              <a:t> and provides </a:t>
            </a:r>
            <a:r>
              <a:rPr lang="en-US" sz="1800" b="1" dirty="0">
                <a:latin typeface="Verdana" charset="0"/>
                <a:ea typeface="Verdana" charset="0"/>
                <a:cs typeface="Verdana" charset="0"/>
              </a:rPr>
              <a:t>safety</a:t>
            </a:r>
            <a:r>
              <a:rPr lang="en-US" sz="1800" dirty="0">
                <a:latin typeface="Verdana" charset="0"/>
                <a:ea typeface="Verdana" charset="0"/>
                <a:cs typeface="Verdana" charset="0"/>
              </a:rPr>
              <a:t> and </a:t>
            </a:r>
            <a:r>
              <a:rPr lang="en-US" sz="1800" b="1" dirty="0">
                <a:latin typeface="Verdana" charset="0"/>
                <a:ea typeface="Verdana" charset="0"/>
                <a:cs typeface="Verdana" charset="0"/>
              </a:rPr>
              <a:t>security</a:t>
            </a:r>
            <a:r>
              <a:rPr lang="en-US" sz="1800" dirty="0">
                <a:latin typeface="Verdana" charset="0"/>
                <a:ea typeface="Verdana" charset="0"/>
                <a:cs typeface="Verdana" charset="0"/>
              </a:rPr>
              <a:t> for the </a:t>
            </a:r>
            <a:r>
              <a:rPr lang="en-US" sz="1800" dirty="0" smtClean="0">
                <a:latin typeface="Verdana" charset="0"/>
                <a:ea typeface="Verdana" charset="0"/>
                <a:cs typeface="Verdana" charset="0"/>
              </a:rPr>
              <a:t>grid. </a:t>
            </a:r>
            <a:br>
              <a:rPr lang="en-US" sz="1800" dirty="0" smtClean="0">
                <a:latin typeface="Verdana" charset="0"/>
                <a:ea typeface="Verdana" charset="0"/>
                <a:cs typeface="Verdana" charset="0"/>
              </a:rPr>
            </a:br>
            <a:r>
              <a:rPr lang="en-US" sz="1800" dirty="0" smtClean="0">
                <a:latin typeface="Verdana" charset="0"/>
                <a:ea typeface="Verdana" charset="0"/>
                <a:cs typeface="Verdana" charset="0"/>
              </a:rPr>
              <a:t>It provides the following:</a:t>
            </a:r>
            <a:endParaRPr lang="en-US" sz="1800" dirty="0">
              <a:latin typeface="Verdana" charset="0"/>
              <a:ea typeface="Verdana" charset="0"/>
              <a:cs typeface="Verdana" charset="0"/>
            </a:endParaRPr>
          </a:p>
          <a:p>
            <a:endParaRPr lang="en-US" sz="1800" dirty="0" smtClean="0"/>
          </a:p>
          <a:p>
            <a:endParaRPr lang="en-US" sz="180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 err="1"/>
              <a:t>PETra</a:t>
            </a:r>
            <a:r>
              <a:rPr lang="en-US" dirty="0"/>
              <a:t> Trading Platform and 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Distributed </a:t>
            </a:r>
            <a:r>
              <a:rPr lang="en-US" dirty="0"/>
              <a:t>Ledger Architecture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35649965" y="17604720"/>
            <a:ext cx="1844040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800" dirty="0" err="1" smtClean="0">
                <a:latin typeface="Verdana" charset="0"/>
                <a:ea typeface="Verdana" charset="0"/>
                <a:cs typeface="Verdana" charset="0"/>
              </a:rPr>
              <a:t>PETra</a:t>
            </a:r>
            <a:endParaRPr lang="en-US" sz="3800" dirty="0">
              <a:latin typeface="Verdana" charset="0"/>
              <a:ea typeface="Verdana" charset="0"/>
              <a:cs typeface="Verdana" charset="0"/>
            </a:endParaRPr>
          </a:p>
        </p:txBody>
      </p:sp>
      <p:sp>
        <p:nvSpPr>
          <p:cNvPr id="6" name="Shape 334"/>
          <p:cNvSpPr/>
          <p:nvPr/>
        </p:nvSpPr>
        <p:spPr>
          <a:xfrm>
            <a:off x="457200" y="2455755"/>
            <a:ext cx="2589667" cy="604800"/>
          </a:xfrm>
          <a:prstGeom prst="rect">
            <a:avLst/>
          </a:prstGeom>
          <a:gradFill>
            <a:gsLst>
              <a:gs pos="0">
                <a:srgbClr val="CA9E42"/>
              </a:gs>
              <a:gs pos="100000">
                <a:srgbClr val="FFD99A"/>
              </a:gs>
            </a:gsLst>
            <a:lin ang="16200000" scaled="0"/>
          </a:gradFill>
          <a:ln w="9525" cap="flat" cmpd="sng">
            <a:solidFill>
              <a:srgbClr val="BB9952"/>
            </a:solidFill>
            <a:prstDash val="solid"/>
            <a:round/>
            <a:headEnd type="none" w="med" len="med"/>
            <a:tailEnd type="none" w="med" len="med"/>
          </a:ln>
          <a:effectLst>
            <a:outerShdw blurRad="39999" dist="23000" dir="5400000" rotWithShape="0">
              <a:srgbClr val="000000">
                <a:alpha val="34509"/>
              </a:srgbClr>
            </a:outerShdw>
          </a:effectLst>
        </p:spPr>
        <p:txBody>
          <a:bodyPr lIns="91425" tIns="91425" rIns="91425" bIns="91425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buClr>
                <a:schemeClr val="dk1"/>
              </a:buClr>
              <a:buFont typeface="Calibri"/>
              <a:buNone/>
            </a:pPr>
            <a:endParaRPr sz="18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" name="Shape 335"/>
          <p:cNvSpPr txBox="1"/>
          <p:nvPr/>
        </p:nvSpPr>
        <p:spPr>
          <a:xfrm>
            <a:off x="457199" y="2455755"/>
            <a:ext cx="2589667" cy="604800"/>
          </a:xfrm>
          <a:prstGeom prst="rect">
            <a:avLst/>
          </a:prstGeom>
          <a:noFill/>
          <a:ln>
            <a:noFill/>
          </a:ln>
        </p:spPr>
        <p:txBody>
          <a:bodyPr lIns="149350" tIns="85325" rIns="149350" bIns="85325" anchor="ctr" anchorCtr="0">
            <a:noAutofit/>
          </a:bodyPr>
          <a:lstStyle/>
          <a:p>
            <a:pPr lvl="0" algn="ctr">
              <a:lnSpc>
                <a:spcPct val="90000"/>
              </a:lnSpc>
              <a:buClr>
                <a:schemeClr val="dk1"/>
              </a:buClr>
              <a:buSzPct val="25000"/>
            </a:pPr>
            <a:r>
              <a:rPr lang="en-US" sz="2100" dirty="0">
                <a:solidFill>
                  <a:schemeClr val="dk1"/>
                </a:solidFill>
                <a:ea typeface="Calibri"/>
                <a:cs typeface="Calibri"/>
                <a:sym typeface="Calibri"/>
              </a:rPr>
              <a:t>Bid Storage</a:t>
            </a:r>
          </a:p>
        </p:txBody>
      </p:sp>
      <p:sp>
        <p:nvSpPr>
          <p:cNvPr id="8" name="Shape 336"/>
          <p:cNvSpPr/>
          <p:nvPr/>
        </p:nvSpPr>
        <p:spPr>
          <a:xfrm>
            <a:off x="457200" y="3060556"/>
            <a:ext cx="2589667" cy="2651669"/>
          </a:xfrm>
          <a:prstGeom prst="rect">
            <a:avLst/>
          </a:prstGeom>
          <a:solidFill>
            <a:srgbClr val="E5DECE">
              <a:alpha val="89411"/>
            </a:srgbClr>
          </a:solidFill>
          <a:ln w="9525" cap="flat" cmpd="sng">
            <a:solidFill>
              <a:srgbClr val="E5DECE">
                <a:alpha val="89411"/>
              </a:srgbClr>
            </a:solidFill>
            <a:prstDash val="solid"/>
            <a:round/>
            <a:headEnd type="none" w="med" len="med"/>
            <a:tailEnd type="none" w="med" len="med"/>
          </a:ln>
        </p:spPr>
        <p:txBody>
          <a:bodyPr lIns="91425" tIns="91425" rIns="91425" bIns="91425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buClr>
                <a:schemeClr val="dk1"/>
              </a:buClr>
              <a:buFont typeface="Calibri"/>
              <a:buNone/>
            </a:pPr>
            <a:endParaRPr sz="18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" name="Shape 337"/>
          <p:cNvSpPr txBox="1"/>
          <p:nvPr/>
        </p:nvSpPr>
        <p:spPr>
          <a:xfrm>
            <a:off x="457200" y="3060556"/>
            <a:ext cx="2589667" cy="2651669"/>
          </a:xfrm>
          <a:prstGeom prst="rect">
            <a:avLst/>
          </a:prstGeom>
          <a:noFill/>
          <a:ln>
            <a:noFill/>
          </a:ln>
        </p:spPr>
        <p:txBody>
          <a:bodyPr lIns="112000" tIns="112000" rIns="149350" bIns="168000" anchor="t" anchorCtr="0">
            <a:noAutofit/>
          </a:bodyPr>
          <a:lstStyle/>
          <a:p>
            <a:pPr marL="228600" marR="0" lvl="1" indent="-22860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ct val="100000"/>
              <a:buFont typeface="Calibri"/>
              <a:buChar char="•"/>
            </a:pPr>
            <a:r>
              <a:rPr lang="en-US" sz="21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y serving as a database for bids, enables prosumers to find trade partners without communicating with all potential partners</a:t>
            </a:r>
          </a:p>
        </p:txBody>
      </p:sp>
      <p:sp>
        <p:nvSpPr>
          <p:cNvPr id="16" name="Shape 338"/>
          <p:cNvSpPr/>
          <p:nvPr/>
        </p:nvSpPr>
        <p:spPr>
          <a:xfrm>
            <a:off x="6378287" y="2455755"/>
            <a:ext cx="2589667" cy="604800"/>
          </a:xfrm>
          <a:prstGeom prst="rect">
            <a:avLst/>
          </a:prstGeom>
          <a:gradFill>
            <a:gsLst>
              <a:gs pos="0">
                <a:srgbClr val="9DC749"/>
              </a:gs>
              <a:gs pos="100000">
                <a:srgbClr val="D9FF9D"/>
              </a:gs>
            </a:gsLst>
            <a:lin ang="16200000" scaled="0"/>
          </a:gradFill>
          <a:ln w="9525" cap="flat" cmpd="sng">
            <a:solidFill>
              <a:srgbClr val="99B958"/>
            </a:solidFill>
            <a:prstDash val="solid"/>
            <a:round/>
            <a:headEnd type="none" w="med" len="med"/>
            <a:tailEnd type="none" w="med" len="med"/>
          </a:ln>
          <a:effectLst>
            <a:outerShdw blurRad="39999" dist="23000" dir="5400000" rotWithShape="0">
              <a:srgbClr val="000000">
                <a:alpha val="34509"/>
              </a:srgbClr>
            </a:outerShdw>
          </a:effectLst>
        </p:spPr>
        <p:txBody>
          <a:bodyPr lIns="91425" tIns="91425" rIns="91425" bIns="91425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buClr>
                <a:schemeClr val="dk1"/>
              </a:buClr>
              <a:buFont typeface="Calibri"/>
              <a:buNone/>
            </a:pPr>
            <a:endParaRPr sz="18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7" name="Shape 339"/>
          <p:cNvSpPr txBox="1"/>
          <p:nvPr/>
        </p:nvSpPr>
        <p:spPr>
          <a:xfrm>
            <a:off x="6378287" y="2455755"/>
            <a:ext cx="2589667" cy="604800"/>
          </a:xfrm>
          <a:prstGeom prst="rect">
            <a:avLst/>
          </a:prstGeom>
          <a:noFill/>
          <a:ln>
            <a:noFill/>
          </a:ln>
        </p:spPr>
        <p:txBody>
          <a:bodyPr lIns="149350" tIns="85325" rIns="149350" bIns="85325" anchor="ctr" anchorCtr="0">
            <a:noAutofit/>
          </a:bodyPr>
          <a:lstStyle/>
          <a:p>
            <a:pPr marL="0" marR="0" lvl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ct val="25000"/>
              <a:buFont typeface="Calibri"/>
              <a:buNone/>
            </a:pPr>
            <a:r>
              <a:rPr lang="en-US" sz="2100" dirty="0" smtClean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ontroller (Future)</a:t>
            </a:r>
            <a:endParaRPr lang="en-US" sz="2100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8" name="Shape 340"/>
          <p:cNvSpPr/>
          <p:nvPr/>
        </p:nvSpPr>
        <p:spPr>
          <a:xfrm>
            <a:off x="6378287" y="3060556"/>
            <a:ext cx="2589667" cy="2651669"/>
          </a:xfrm>
          <a:prstGeom prst="rect">
            <a:avLst/>
          </a:prstGeom>
          <a:solidFill>
            <a:srgbClr val="DCE4CF">
              <a:alpha val="89411"/>
            </a:srgbClr>
          </a:solidFill>
          <a:ln w="9525" cap="flat" cmpd="sng">
            <a:solidFill>
              <a:srgbClr val="DCE4CF">
                <a:alpha val="89411"/>
              </a:srgbClr>
            </a:solidFill>
            <a:prstDash val="solid"/>
            <a:round/>
            <a:headEnd type="none" w="med" len="med"/>
            <a:tailEnd type="none" w="med" len="med"/>
          </a:ln>
        </p:spPr>
        <p:txBody>
          <a:bodyPr lIns="91425" tIns="91425" rIns="91425" bIns="91425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buClr>
                <a:schemeClr val="dk1"/>
              </a:buClr>
              <a:buFont typeface="Calibri"/>
              <a:buNone/>
            </a:pPr>
            <a:endParaRPr sz="18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9" name="Shape 341"/>
          <p:cNvSpPr txBox="1"/>
          <p:nvPr/>
        </p:nvSpPr>
        <p:spPr>
          <a:xfrm>
            <a:off x="6378287" y="3060555"/>
            <a:ext cx="2589667" cy="2651669"/>
          </a:xfrm>
          <a:prstGeom prst="rect">
            <a:avLst/>
          </a:prstGeom>
          <a:noFill/>
          <a:ln>
            <a:noFill/>
          </a:ln>
        </p:spPr>
        <p:txBody>
          <a:bodyPr lIns="112000" tIns="112000" rIns="149350" bIns="168000" anchor="t" anchorCtr="0">
            <a:noAutofit/>
          </a:bodyPr>
          <a:lstStyle/>
          <a:p>
            <a:pPr marL="228600" marR="0" lvl="1" indent="-22860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ct val="100000"/>
              <a:buFont typeface="Calibri"/>
              <a:buChar char="•"/>
            </a:pPr>
            <a:r>
              <a:rPr lang="en-US" sz="2100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</a:t>
            </a:r>
            <a:r>
              <a:rPr lang="en-US" sz="2100" b="0" i="0" u="none" strike="noStrike" cap="none" dirty="0" smtClean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abilizes </a:t>
            </a:r>
            <a:r>
              <a:rPr lang="en-US" sz="21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load within the </a:t>
            </a:r>
            <a:r>
              <a:rPr lang="en-US" sz="21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microgrid </a:t>
            </a:r>
            <a:r>
              <a:rPr lang="en-US" sz="2100" b="0" i="0" u="none" strike="noStrike" cap="none" smtClean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and </a:t>
            </a:r>
            <a:r>
              <a:rPr lang="en-US" sz="21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ontrols it based on the load in the rest of the grid</a:t>
            </a:r>
          </a:p>
        </p:txBody>
      </p:sp>
      <p:sp>
        <p:nvSpPr>
          <p:cNvPr id="20" name="Shape 330"/>
          <p:cNvSpPr/>
          <p:nvPr/>
        </p:nvSpPr>
        <p:spPr>
          <a:xfrm>
            <a:off x="3399522" y="2455755"/>
            <a:ext cx="2589667" cy="604800"/>
          </a:xfrm>
          <a:prstGeom prst="rect">
            <a:avLst/>
          </a:prstGeom>
          <a:gradFill>
            <a:gsLst>
              <a:gs pos="0">
                <a:srgbClr val="D03F3B"/>
              </a:gs>
              <a:gs pos="100000">
                <a:srgbClr val="FF9995"/>
              </a:gs>
            </a:gsLst>
            <a:lin ang="16200000" scaled="0"/>
          </a:gradFill>
          <a:ln w="9525" cap="flat" cmpd="sng">
            <a:solidFill>
              <a:srgbClr val="BF504D"/>
            </a:solidFill>
            <a:prstDash val="solid"/>
            <a:round/>
            <a:headEnd type="none" w="med" len="med"/>
            <a:tailEnd type="none" w="med" len="med"/>
          </a:ln>
          <a:effectLst>
            <a:outerShdw blurRad="39999" dist="23000" dir="5400000" rotWithShape="0">
              <a:srgbClr val="000000">
                <a:alpha val="34509"/>
              </a:srgbClr>
            </a:outerShdw>
          </a:effectLst>
        </p:spPr>
        <p:txBody>
          <a:bodyPr lIns="91425" tIns="91425" rIns="91425" bIns="91425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buClr>
                <a:schemeClr val="dk1"/>
              </a:buClr>
              <a:buFont typeface="Calibri"/>
              <a:buNone/>
            </a:pPr>
            <a:endParaRPr sz="18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1" name="Shape 331"/>
          <p:cNvSpPr txBox="1"/>
          <p:nvPr/>
        </p:nvSpPr>
        <p:spPr>
          <a:xfrm>
            <a:off x="3399522" y="2455755"/>
            <a:ext cx="2589667" cy="604800"/>
          </a:xfrm>
          <a:prstGeom prst="rect">
            <a:avLst/>
          </a:prstGeom>
          <a:noFill/>
          <a:ln>
            <a:noFill/>
          </a:ln>
        </p:spPr>
        <p:txBody>
          <a:bodyPr lIns="149350" tIns="85325" rIns="149350" bIns="85325" anchor="ctr" anchorCtr="0">
            <a:noAutofit/>
          </a:bodyPr>
          <a:lstStyle/>
          <a:p>
            <a:pPr marL="0" marR="0" lvl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ct val="25000"/>
              <a:buFont typeface="Calibri"/>
              <a:buNone/>
            </a:pPr>
            <a:r>
              <a:rPr lang="en-US" sz="2100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Distributed Ledger</a:t>
            </a:r>
          </a:p>
        </p:txBody>
      </p:sp>
      <p:sp>
        <p:nvSpPr>
          <p:cNvPr id="22" name="Shape 332"/>
          <p:cNvSpPr/>
          <p:nvPr/>
        </p:nvSpPr>
        <p:spPr>
          <a:xfrm>
            <a:off x="3399522" y="3060556"/>
            <a:ext cx="2589667" cy="2651669"/>
          </a:xfrm>
          <a:prstGeom prst="rect">
            <a:avLst/>
          </a:prstGeom>
          <a:solidFill>
            <a:srgbClr val="E7CFCF">
              <a:alpha val="89411"/>
            </a:srgbClr>
          </a:solidFill>
          <a:ln w="9525" cap="flat" cmpd="sng">
            <a:solidFill>
              <a:srgbClr val="E7CFCF">
                <a:alpha val="89411"/>
              </a:srgbClr>
            </a:solidFill>
            <a:prstDash val="solid"/>
            <a:round/>
            <a:headEnd type="none" w="med" len="med"/>
            <a:tailEnd type="none" w="med" len="med"/>
          </a:ln>
        </p:spPr>
        <p:txBody>
          <a:bodyPr lIns="91425" tIns="91425" rIns="91425" bIns="91425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buClr>
                <a:schemeClr val="dk1"/>
              </a:buClr>
              <a:buFont typeface="Calibri"/>
              <a:buNone/>
            </a:pPr>
            <a:endParaRPr sz="18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3" name="Shape 333"/>
          <p:cNvSpPr txBox="1"/>
          <p:nvPr/>
        </p:nvSpPr>
        <p:spPr>
          <a:xfrm>
            <a:off x="3399522" y="3060556"/>
            <a:ext cx="2589667" cy="2651669"/>
          </a:xfrm>
          <a:prstGeom prst="rect">
            <a:avLst/>
          </a:prstGeom>
          <a:noFill/>
          <a:ln>
            <a:noFill/>
          </a:ln>
        </p:spPr>
        <p:txBody>
          <a:bodyPr lIns="112000" tIns="112000" rIns="149350" bIns="168000" anchor="t" anchorCtr="0">
            <a:noAutofit/>
          </a:bodyPr>
          <a:lstStyle/>
          <a:p>
            <a:pPr marL="228600" lvl="1" indent="-228600">
              <a:lnSpc>
                <a:spcPct val="90000"/>
              </a:lnSpc>
              <a:buClr>
                <a:schemeClr val="dk1"/>
              </a:buClr>
              <a:buSzPct val="100000"/>
              <a:buFont typeface="Calibri"/>
              <a:buChar char="•"/>
            </a:pPr>
            <a:r>
              <a:rPr lang="en-US" sz="2100" dirty="0">
                <a:solidFill>
                  <a:schemeClr val="dk1"/>
                </a:solidFill>
                <a:ea typeface="Calibri"/>
                <a:cs typeface="Calibri"/>
                <a:sym typeface="Calibri"/>
              </a:rPr>
              <a:t>stores transactions that specify trades, energy production and consumption values, financial records, and regulatory policies for the microgrid</a:t>
            </a:r>
          </a:p>
        </p:txBody>
      </p:sp>
      <p:sp>
        <p:nvSpPr>
          <p:cNvPr id="25" name="Shape 340"/>
          <p:cNvSpPr/>
          <p:nvPr/>
        </p:nvSpPr>
        <p:spPr>
          <a:xfrm>
            <a:off x="457199" y="5795080"/>
            <a:ext cx="8577015" cy="931398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 w="9525" cap="flat" cmpd="sng">
            <a:solidFill>
              <a:srgbClr val="DCE4CF">
                <a:alpha val="89411"/>
              </a:srgbClr>
            </a:solidFill>
            <a:prstDash val="solid"/>
            <a:round/>
            <a:headEnd type="none" w="med" len="med"/>
            <a:tailEnd type="none" w="med" len="med"/>
          </a:ln>
        </p:spPr>
        <p:txBody>
          <a:bodyPr lIns="91425" tIns="91425" rIns="91425" bIns="91425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buClr>
                <a:schemeClr val="dk1"/>
              </a:buClr>
              <a:buFont typeface="Calibri"/>
              <a:buNone/>
            </a:pPr>
            <a:endParaRPr sz="18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9" name="Shape 337"/>
          <p:cNvSpPr txBox="1"/>
          <p:nvPr/>
        </p:nvSpPr>
        <p:spPr>
          <a:xfrm>
            <a:off x="569935" y="5843749"/>
            <a:ext cx="8474218" cy="882730"/>
          </a:xfrm>
          <a:prstGeom prst="rect">
            <a:avLst/>
          </a:prstGeom>
          <a:noFill/>
          <a:ln>
            <a:noFill/>
          </a:ln>
        </p:spPr>
        <p:txBody>
          <a:bodyPr lIns="112000" tIns="112000" rIns="149350" bIns="168000" anchor="t" anchorCtr="0">
            <a:noAutofit/>
          </a:bodyPr>
          <a:lstStyle/>
          <a:p>
            <a:r>
              <a:rPr lang="en-US" sz="2100" u="sng" dirty="0" smtClean="0"/>
              <a:t>Smart </a:t>
            </a:r>
            <a:r>
              <a:rPr lang="en-US" sz="2100" u="sng" dirty="0"/>
              <a:t>meters</a:t>
            </a:r>
            <a:r>
              <a:rPr lang="en-US" sz="2100" dirty="0"/>
              <a:t> must be tamper resistant to </a:t>
            </a:r>
            <a:r>
              <a:rPr lang="en-US" sz="2100" dirty="0" smtClean="0"/>
              <a:t>prevent prosumers </a:t>
            </a:r>
            <a:r>
              <a:rPr lang="en-US" sz="2100" dirty="0"/>
              <a:t>from </a:t>
            </a:r>
            <a:r>
              <a:rPr lang="en-US" sz="2100" dirty="0" smtClean="0"/>
              <a:t>“stealing electricity” </a:t>
            </a:r>
            <a:r>
              <a:rPr lang="en-US" sz="2100" dirty="0"/>
              <a:t>by tampering </a:t>
            </a:r>
            <a:r>
              <a:rPr lang="en-US" sz="2100" dirty="0" smtClean="0"/>
              <a:t>with their </a:t>
            </a:r>
            <a:r>
              <a:rPr lang="en-US" sz="2100" dirty="0"/>
              <a:t>meters</a:t>
            </a:r>
            <a:endParaRPr lang="en-US" sz="21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3419418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>The </a:t>
            </a:r>
            <a:r>
              <a:rPr lang="en-US" dirty="0" err="1"/>
              <a:t>PETra</a:t>
            </a:r>
            <a:r>
              <a:rPr lang="en-US" dirty="0"/>
              <a:t> </a:t>
            </a:r>
            <a:r>
              <a:rPr lang="en-US" dirty="0" smtClean="0"/>
              <a:t>Protocol</a:t>
            </a:r>
            <a:endParaRPr lang="en-US" dirty="0"/>
          </a:p>
        </p:txBody>
      </p:sp>
      <p:sp>
        <p:nvSpPr>
          <p:cNvPr id="5" name="Subtitle 4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362682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176834"/>
            <a:ext cx="4771450" cy="4525963"/>
          </a:xfrm>
        </p:spPr>
        <p:txBody>
          <a:bodyPr>
            <a:noAutofit/>
          </a:bodyPr>
          <a:lstStyle/>
          <a:p>
            <a:r>
              <a:rPr lang="en-US" sz="2400" dirty="0" smtClean="0"/>
              <a:t>Billing is </a:t>
            </a:r>
            <a:r>
              <a:rPr lang="en-US" sz="2400" u="sng" dirty="0" smtClean="0"/>
              <a:t>performed by the tamper proof smart meters </a:t>
            </a:r>
            <a:r>
              <a:rPr lang="en-US" sz="2400" dirty="0" smtClean="0"/>
              <a:t>based on the energy prices set by the DSO</a:t>
            </a:r>
          </a:p>
          <a:p>
            <a:pPr lvl="1"/>
            <a:r>
              <a:rPr lang="en-US" sz="2000" dirty="0" smtClean="0"/>
              <a:t>The energy trades recorded in the blockchain, and </a:t>
            </a:r>
          </a:p>
          <a:p>
            <a:pPr lvl="1"/>
            <a:r>
              <a:rPr lang="en-US" sz="2000" dirty="0" smtClean="0"/>
              <a:t>The energy transfer recorded by the smart meter</a:t>
            </a:r>
          </a:p>
          <a:p>
            <a:r>
              <a:rPr lang="en-US" sz="2400" u="sng" dirty="0" smtClean="0"/>
              <a:t>Regulatory policies are set by the DSO </a:t>
            </a:r>
            <a:r>
              <a:rPr lang="en-US" sz="2400" dirty="0" smtClean="0"/>
              <a:t>and cannot be changed by anyone else</a:t>
            </a:r>
          </a:p>
          <a:p>
            <a:r>
              <a:rPr lang="en-US" sz="2400" dirty="0" smtClean="0"/>
              <a:t>Prosumers </a:t>
            </a:r>
            <a:r>
              <a:rPr lang="en-US" sz="2400" dirty="0"/>
              <a:t>cannot back out of trades unilaterally, and </a:t>
            </a:r>
            <a:r>
              <a:rPr lang="en-US" sz="2400" dirty="0" smtClean="0"/>
              <a:t>they can be </a:t>
            </a:r>
            <a:r>
              <a:rPr lang="en-US" sz="2400" dirty="0"/>
              <a:t>banned by the </a:t>
            </a:r>
            <a:r>
              <a:rPr lang="en-US" sz="2400" dirty="0" smtClean="0"/>
              <a:t>DSO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ecurity Assumptions</a:t>
            </a:r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017947" y="1268455"/>
            <a:ext cx="2152650" cy="2124075"/>
          </a:xfrm>
          <a:prstGeom prst="rect">
            <a:avLst/>
          </a:prstGeom>
        </p:spPr>
      </p:pic>
      <p:pic>
        <p:nvPicPr>
          <p:cNvPr id="11" name="Picture 8" descr="Image result for blockchain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66206" y="3684418"/>
            <a:ext cx="3172784" cy="19676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42983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176834"/>
            <a:ext cx="5139664" cy="4525963"/>
          </a:xfrm>
        </p:spPr>
        <p:txBody>
          <a:bodyPr>
            <a:noAutofit/>
          </a:bodyPr>
          <a:lstStyle/>
          <a:p>
            <a:r>
              <a:rPr lang="en-US" sz="2400" dirty="0">
                <a:solidFill>
                  <a:schemeClr val="tx1"/>
                </a:solidFill>
              </a:rPr>
              <a:t>Only the corresponding </a:t>
            </a:r>
            <a:r>
              <a:rPr lang="en-US" sz="2400" u="sng" dirty="0">
                <a:solidFill>
                  <a:schemeClr val="tx1"/>
                </a:solidFill>
              </a:rPr>
              <a:t>smart meter </a:t>
            </a:r>
            <a:r>
              <a:rPr lang="en-US" sz="2400" dirty="0">
                <a:solidFill>
                  <a:schemeClr val="tx1"/>
                </a:solidFill>
              </a:rPr>
              <a:t>and the </a:t>
            </a:r>
            <a:r>
              <a:rPr lang="en-US" sz="2400" u="sng" dirty="0">
                <a:solidFill>
                  <a:schemeClr val="tx1"/>
                </a:solidFill>
              </a:rPr>
              <a:t>DSO may gain information </a:t>
            </a:r>
            <a:r>
              <a:rPr lang="en-US" sz="2400" dirty="0">
                <a:solidFill>
                  <a:schemeClr val="tx1"/>
                </a:solidFill>
              </a:rPr>
              <a:t>regarding </a:t>
            </a:r>
            <a:r>
              <a:rPr lang="en-US" sz="2400" u="sng" dirty="0">
                <a:solidFill>
                  <a:schemeClr val="tx1"/>
                </a:solidFill>
              </a:rPr>
              <a:t>the amount of energy produced, consumed, bought, or sold by a </a:t>
            </a:r>
            <a:r>
              <a:rPr lang="en-US" sz="2400" u="sng" dirty="0" smtClean="0">
                <a:solidFill>
                  <a:schemeClr val="tx1"/>
                </a:solidFill>
              </a:rPr>
              <a:t>prosumer</a:t>
            </a:r>
          </a:p>
          <a:p>
            <a:endParaRPr lang="en-US" sz="2400" dirty="0">
              <a:solidFill>
                <a:schemeClr val="tx1"/>
              </a:solidFill>
            </a:endParaRPr>
          </a:p>
          <a:p>
            <a:r>
              <a:rPr lang="en-US" sz="2400" dirty="0">
                <a:solidFill>
                  <a:schemeClr val="tx1"/>
                </a:solidFill>
              </a:rPr>
              <a:t>Only the prosumer may know which bids and asks it has posted, and </a:t>
            </a:r>
            <a:r>
              <a:rPr lang="en-US" sz="2400" u="sng" dirty="0">
                <a:solidFill>
                  <a:schemeClr val="tx1"/>
                </a:solidFill>
              </a:rPr>
              <a:t>no one </a:t>
            </a:r>
            <a:r>
              <a:rPr lang="en-US" sz="2400" u="sng" dirty="0" smtClean="0">
                <a:solidFill>
                  <a:schemeClr val="tx1"/>
                </a:solidFill>
              </a:rPr>
              <a:t>else can </a:t>
            </a:r>
            <a:r>
              <a:rPr lang="en-US" sz="2400" u="sng" dirty="0">
                <a:solidFill>
                  <a:schemeClr val="tx1"/>
                </a:solidFill>
              </a:rPr>
              <a:t>know who traded energy with whom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Privacy Guarantees</a:t>
            </a:r>
            <a:endParaRPr lang="en-US" dirty="0"/>
          </a:p>
        </p:txBody>
      </p:sp>
      <p:pic>
        <p:nvPicPr>
          <p:cNvPr id="1032" name="Picture 8" descr="Image result for blockchain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66206" y="3684418"/>
            <a:ext cx="3172784" cy="19676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017947" y="1268455"/>
            <a:ext cx="2152650" cy="21240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395294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03778" y="1827346"/>
            <a:ext cx="4973968" cy="4525963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dirty="0"/>
              <a:t>From centralized to </a:t>
            </a:r>
            <a:r>
              <a:rPr lang="en-US" dirty="0" smtClean="0"/>
              <a:t>decentralized and </a:t>
            </a:r>
            <a:r>
              <a:rPr lang="en-US" dirty="0"/>
              <a:t>distributed energy systems</a:t>
            </a:r>
          </a:p>
          <a:p>
            <a:endParaRPr lang="en-US" sz="320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3600" dirty="0" smtClean="0"/>
              <a:t>Electrical Energy Networks are Changing</a:t>
            </a:r>
            <a:endParaRPr lang="en-US" sz="3600" dirty="0"/>
          </a:p>
        </p:txBody>
      </p:sp>
      <p:sp>
        <p:nvSpPr>
          <p:cNvPr id="5" name="TextBox 4"/>
          <p:cNvSpPr txBox="1"/>
          <p:nvPr/>
        </p:nvSpPr>
        <p:spPr>
          <a:xfrm>
            <a:off x="367953" y="3632344"/>
            <a:ext cx="2601495" cy="369332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US" dirty="0" smtClean="0"/>
              <a:t>Changing Generation Mix</a:t>
            </a:r>
            <a:endParaRPr lang="en-US" dirty="0"/>
          </a:p>
        </p:txBody>
      </p:sp>
      <p:pic>
        <p:nvPicPr>
          <p:cNvPr id="6146" name="Picture 2" descr="http://www.df-sa.es/wp-content/uploads/2013/03/photovoltaic-solar-cells-1280x720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97282" y="3870797"/>
            <a:ext cx="3059031" cy="17207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148" name="Picture 4" descr="http://blogs.discovermagazine.com/d-brief/files/2013/04/nuclear-power-plant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97282" y="1213026"/>
            <a:ext cx="2987855" cy="19928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extBox 7"/>
          <p:cNvSpPr txBox="1"/>
          <p:nvPr/>
        </p:nvSpPr>
        <p:spPr>
          <a:xfrm>
            <a:off x="3137325" y="3632344"/>
            <a:ext cx="1928348" cy="369332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none" rtlCol="0">
            <a:spAutoFit/>
          </a:bodyPr>
          <a:lstStyle/>
          <a:p>
            <a:r>
              <a:rPr lang="en-US" dirty="0" smtClean="0"/>
              <a:t>Transactive Energy</a:t>
            </a:r>
            <a:endParaRPr lang="en-US" dirty="0"/>
          </a:p>
        </p:txBody>
      </p:sp>
      <p:sp>
        <p:nvSpPr>
          <p:cNvPr id="9" name="TextBox 8"/>
          <p:cNvSpPr txBox="1"/>
          <p:nvPr/>
        </p:nvSpPr>
        <p:spPr>
          <a:xfrm>
            <a:off x="367953" y="4164552"/>
            <a:ext cx="1323632" cy="369332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none" rtlCol="0">
            <a:spAutoFit/>
          </a:bodyPr>
          <a:lstStyle/>
          <a:p>
            <a:r>
              <a:rPr lang="en-US" dirty="0" smtClean="0"/>
              <a:t>Electric Cars</a:t>
            </a:r>
            <a:endParaRPr lang="en-US" dirty="0"/>
          </a:p>
        </p:txBody>
      </p:sp>
      <p:sp>
        <p:nvSpPr>
          <p:cNvPr id="10" name="TextBox 9"/>
          <p:cNvSpPr txBox="1"/>
          <p:nvPr/>
        </p:nvSpPr>
        <p:spPr>
          <a:xfrm>
            <a:off x="2135949" y="4164552"/>
            <a:ext cx="1760482" cy="369332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none" rtlCol="0">
            <a:spAutoFit/>
          </a:bodyPr>
          <a:lstStyle/>
          <a:p>
            <a:r>
              <a:rPr lang="en-US" dirty="0" smtClean="0"/>
              <a:t>Decentralization</a:t>
            </a:r>
            <a:endParaRPr lang="en-US" dirty="0"/>
          </a:p>
        </p:txBody>
      </p:sp>
      <p:sp>
        <p:nvSpPr>
          <p:cNvPr id="11" name="TextBox 10"/>
          <p:cNvSpPr txBox="1"/>
          <p:nvPr/>
        </p:nvSpPr>
        <p:spPr>
          <a:xfrm>
            <a:off x="4340795" y="4154400"/>
            <a:ext cx="724878" cy="369332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none" rtlCol="0">
            <a:spAutoFit/>
          </a:bodyPr>
          <a:lstStyle/>
          <a:p>
            <a:r>
              <a:rPr lang="en-US" dirty="0" smtClean="0"/>
              <a:t>DER-s</a:t>
            </a:r>
            <a:endParaRPr lang="en-US" dirty="0"/>
          </a:p>
        </p:txBody>
      </p:sp>
      <p:sp>
        <p:nvSpPr>
          <p:cNvPr id="12" name="TextBox 11"/>
          <p:cNvSpPr txBox="1"/>
          <p:nvPr/>
        </p:nvSpPr>
        <p:spPr>
          <a:xfrm>
            <a:off x="367953" y="4696760"/>
            <a:ext cx="4697720" cy="369332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solidFill>
              <a:srgbClr val="C00000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US" b="1" dirty="0" smtClean="0">
                <a:solidFill>
                  <a:srgbClr val="C00000"/>
                </a:solidFill>
              </a:rPr>
              <a:t>Increasing Complexity</a:t>
            </a:r>
            <a:endParaRPr lang="en-US" b="1" dirty="0">
              <a:solidFill>
                <a:srgbClr val="C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446827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 animBg="1"/>
    </p:bld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91504" y="1063542"/>
            <a:ext cx="8613156" cy="5129531"/>
          </a:xfrm>
        </p:spPr>
        <p:txBody>
          <a:bodyPr>
            <a:normAutofit/>
          </a:bodyPr>
          <a:lstStyle/>
          <a:p>
            <a:r>
              <a:rPr lang="en-US" sz="1800" dirty="0"/>
              <a:t>Energy is traded as quantized assets during fixed time </a:t>
            </a:r>
            <a:r>
              <a:rPr lang="en-US" sz="1800" dirty="0" smtClean="0"/>
              <a:t>intervals</a:t>
            </a:r>
            <a:r>
              <a:rPr lang="en-US" sz="1800" dirty="0"/>
              <a:t>:</a:t>
            </a:r>
            <a:endParaRPr lang="en-US" sz="1800" dirty="0" smtClean="0"/>
          </a:p>
          <a:p>
            <a:pPr lvl="1"/>
            <a:r>
              <a:rPr lang="en-US" sz="1800" b="1" dirty="0" smtClean="0"/>
              <a:t>power</a:t>
            </a:r>
            <a:r>
              <a:rPr lang="en-US" sz="1800" dirty="0"/>
              <a:t>: non-negative amount of power to be </a:t>
            </a:r>
            <a:r>
              <a:rPr lang="en-US" sz="1800" dirty="0" smtClean="0"/>
              <a:t>produced/consumed </a:t>
            </a:r>
            <a:r>
              <a:rPr lang="en-US" sz="1800" dirty="0"/>
              <a:t>(</a:t>
            </a:r>
            <a:r>
              <a:rPr lang="en-US" sz="1800" dirty="0" smtClean="0"/>
              <a:t>for example</a:t>
            </a:r>
            <a:r>
              <a:rPr lang="en-US" sz="1800" dirty="0"/>
              <a:t>, measured in watts</a:t>
            </a:r>
            <a:r>
              <a:rPr lang="en-US" sz="1800" dirty="0" smtClean="0"/>
              <a:t>)</a:t>
            </a:r>
            <a:endParaRPr lang="en-US" sz="1800" dirty="0"/>
          </a:p>
          <a:p>
            <a:pPr lvl="1"/>
            <a:r>
              <a:rPr lang="en-US" sz="1800" b="1" dirty="0" smtClean="0"/>
              <a:t>start</a:t>
            </a:r>
            <a:r>
              <a:rPr lang="en-US" sz="1800" dirty="0"/>
              <a:t>: first time interval in which energy is to be </a:t>
            </a:r>
            <a:r>
              <a:rPr lang="en-US" sz="1800" dirty="0" smtClean="0"/>
              <a:t>produced/consumed</a:t>
            </a:r>
            <a:endParaRPr lang="en-US" sz="1800" dirty="0"/>
          </a:p>
          <a:p>
            <a:pPr lvl="1"/>
            <a:r>
              <a:rPr lang="en-US" sz="1800" b="1" dirty="0" smtClean="0"/>
              <a:t>end</a:t>
            </a:r>
            <a:r>
              <a:rPr lang="en-US" sz="1800" dirty="0"/>
              <a:t>: last time interval in which energy is to be </a:t>
            </a:r>
            <a:r>
              <a:rPr lang="en-US" sz="1800" dirty="0" smtClean="0"/>
              <a:t>produced/consumed</a:t>
            </a:r>
          </a:p>
          <a:p>
            <a:pPr lvl="1"/>
            <a:endParaRPr lang="en-US" sz="1800" dirty="0" smtClean="0"/>
          </a:p>
          <a:p>
            <a:r>
              <a:rPr lang="en-US" sz="1800" dirty="0" smtClean="0"/>
              <a:t>A prosumer/consumer must withdraw assets from its smart meter before engaging in trading</a:t>
            </a:r>
          </a:p>
          <a:p>
            <a:pPr lvl="1"/>
            <a:r>
              <a:rPr lang="en-US" sz="1800" dirty="0" smtClean="0"/>
              <a:t>selling energy </a:t>
            </a:r>
            <a:r>
              <a:rPr lang="is-IS" sz="1800" dirty="0"/>
              <a:t>→</a:t>
            </a:r>
            <a:r>
              <a:rPr lang="en-US" sz="1800" dirty="0" smtClean="0"/>
              <a:t> production </a:t>
            </a:r>
            <a:r>
              <a:rPr lang="en-US" sz="1800" dirty="0"/>
              <a:t>asset</a:t>
            </a:r>
          </a:p>
          <a:p>
            <a:pPr lvl="1"/>
            <a:r>
              <a:rPr lang="en-US" sz="1800" dirty="0" smtClean="0"/>
              <a:t>buying energy </a:t>
            </a:r>
            <a:r>
              <a:rPr lang="is-IS" sz="1800" dirty="0"/>
              <a:t>→</a:t>
            </a:r>
            <a:r>
              <a:rPr lang="en-US" sz="1800" dirty="0" smtClean="0"/>
              <a:t> consumption asset</a:t>
            </a:r>
          </a:p>
          <a:p>
            <a:pPr lvl="1"/>
            <a:endParaRPr lang="en-US" sz="1800" dirty="0" smtClean="0"/>
          </a:p>
          <a:p>
            <a:r>
              <a:rPr lang="en-US" sz="1800" dirty="0"/>
              <a:t>Other assets are financial, which are exchanged after settlement of a trade</a:t>
            </a:r>
          </a:p>
          <a:p>
            <a:endParaRPr lang="en-US" sz="2200" dirty="0"/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3600" dirty="0"/>
              <a:t>Energy Assets: </a:t>
            </a:r>
            <a:r>
              <a:rPr lang="en-US" sz="3600" dirty="0" err="1" smtClean="0"/>
              <a:t>PETra</a:t>
            </a:r>
            <a:r>
              <a:rPr lang="en-US" sz="3600" dirty="0" smtClean="0"/>
              <a:t> Key </a:t>
            </a:r>
            <a:r>
              <a:rPr lang="en-US" sz="3600" dirty="0"/>
              <a:t>Concept</a:t>
            </a: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3827" b="-2"/>
          <a:stretch/>
        </p:blipFill>
        <p:spPr>
          <a:xfrm>
            <a:off x="0" y="2669557"/>
            <a:ext cx="9144000" cy="40319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644763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91504" y="1063542"/>
            <a:ext cx="8613156" cy="5129531"/>
          </a:xfrm>
        </p:spPr>
        <p:txBody>
          <a:bodyPr>
            <a:normAutofit/>
          </a:bodyPr>
          <a:lstStyle/>
          <a:p>
            <a:r>
              <a:rPr lang="en-US" sz="1800" dirty="0"/>
              <a:t>A prosumer/consumer must withdraw assets from its smart meter before engaging in trading</a:t>
            </a:r>
          </a:p>
          <a:p>
            <a:pPr lvl="1"/>
            <a:r>
              <a:rPr lang="en-US" sz="1800" dirty="0"/>
              <a:t>selling energy </a:t>
            </a:r>
            <a:r>
              <a:rPr lang="is-IS" sz="1800" dirty="0"/>
              <a:t>→</a:t>
            </a:r>
            <a:r>
              <a:rPr lang="en-US" sz="1800" dirty="0"/>
              <a:t> production asset</a:t>
            </a:r>
          </a:p>
          <a:p>
            <a:pPr lvl="1"/>
            <a:r>
              <a:rPr lang="en-US" sz="1800" dirty="0"/>
              <a:t>buying energy </a:t>
            </a:r>
            <a:r>
              <a:rPr lang="is-IS" sz="1800" dirty="0"/>
              <a:t>→</a:t>
            </a:r>
            <a:r>
              <a:rPr lang="en-US" sz="1800" dirty="0"/>
              <a:t> consumption asset</a:t>
            </a:r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3600" dirty="0"/>
              <a:t>Energy Assets: </a:t>
            </a:r>
            <a:r>
              <a:rPr lang="en-US" sz="3600" dirty="0" err="1" smtClean="0"/>
              <a:t>PETra</a:t>
            </a:r>
            <a:r>
              <a:rPr lang="en-US" sz="3600" dirty="0" smtClean="0"/>
              <a:t> Key </a:t>
            </a:r>
            <a:r>
              <a:rPr lang="en-US" sz="3600" dirty="0"/>
              <a:t>Concept</a:t>
            </a: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3827" b="-2"/>
          <a:stretch/>
        </p:blipFill>
        <p:spPr>
          <a:xfrm>
            <a:off x="0" y="2669557"/>
            <a:ext cx="9144000" cy="40319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062616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91504" y="1063542"/>
            <a:ext cx="8613156" cy="5129531"/>
          </a:xfrm>
        </p:spPr>
        <p:txBody>
          <a:bodyPr>
            <a:normAutofit/>
          </a:bodyPr>
          <a:lstStyle/>
          <a:p>
            <a:r>
              <a:rPr lang="en-US" sz="1600" dirty="0"/>
              <a:t>All transactions are recorded in the distributed ledger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600" dirty="0"/>
              <a:t>auditable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600" dirty="0"/>
              <a:t>immutable</a:t>
            </a:r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3600" dirty="0"/>
              <a:t>Energy Assets: </a:t>
            </a:r>
            <a:r>
              <a:rPr lang="en-US" sz="3600" dirty="0" err="1" smtClean="0"/>
              <a:t>PETra</a:t>
            </a:r>
            <a:r>
              <a:rPr lang="en-US" sz="3600" dirty="0" smtClean="0"/>
              <a:t> Key </a:t>
            </a:r>
            <a:r>
              <a:rPr lang="en-US" sz="3600" dirty="0"/>
              <a:t>Concept</a:t>
            </a: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3827" b="-2"/>
          <a:stretch/>
        </p:blipFill>
        <p:spPr>
          <a:xfrm>
            <a:off x="0" y="2669557"/>
            <a:ext cx="9144000" cy="4031967"/>
          </a:xfrm>
          <a:prstGeom prst="rect">
            <a:avLst/>
          </a:prstGeom>
        </p:spPr>
      </p:pic>
      <p:pic>
        <p:nvPicPr>
          <p:cNvPr id="5" name="Picture 8" descr="Image result for blockchain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31485" y="1090085"/>
            <a:ext cx="2546818" cy="15794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8802632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91504" y="1063542"/>
            <a:ext cx="5876093" cy="5129531"/>
          </a:xfrm>
        </p:spPr>
        <p:txBody>
          <a:bodyPr>
            <a:normAutofit/>
          </a:bodyPr>
          <a:lstStyle/>
          <a:p>
            <a:r>
              <a:rPr lang="en-US" sz="1800" dirty="0"/>
              <a:t>Transactions on Bitcoin and similar </a:t>
            </a:r>
            <a:r>
              <a:rPr lang="en-US" sz="1800" dirty="0" err="1"/>
              <a:t>blockchains</a:t>
            </a:r>
            <a:r>
              <a:rPr lang="en-US" sz="1800" dirty="0"/>
              <a:t> provide pseudo-anonymity</a:t>
            </a:r>
          </a:p>
          <a:p>
            <a:pPr lvl="1"/>
            <a:r>
              <a:rPr lang="en-US" sz="1800" dirty="0"/>
              <a:t>each transaction is associated with the public addresses of the sender and receiver, which enables tracking trades</a:t>
            </a:r>
          </a:p>
          <a:p>
            <a:pPr lvl="1"/>
            <a:r>
              <a:rPr lang="en-US" sz="1800" dirty="0"/>
              <a:t>anonymous addresses may be created</a:t>
            </a:r>
          </a:p>
          <a:p>
            <a:pPr lvl="1"/>
            <a:r>
              <a:rPr lang="en-US" sz="1800" dirty="0"/>
              <a:t>however, these addresses can be easily linked to the prosumers’ public addresses as soon as they transfer assets to them</a:t>
            </a:r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3600" dirty="0"/>
              <a:t>Privacy Problem</a:t>
            </a:r>
          </a:p>
        </p:txBody>
      </p:sp>
      <p:pic>
        <p:nvPicPr>
          <p:cNvPr id="5" name="Picture 8" descr="Image result for blockchain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31485" y="1090085"/>
            <a:ext cx="2546818" cy="15794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605615" y="3742449"/>
            <a:ext cx="3421784" cy="2155124"/>
          </a:xfrm>
          <a:prstGeom prst="rect">
            <a:avLst/>
          </a:prstGeom>
        </p:spPr>
      </p:pic>
      <p:sp>
        <p:nvSpPr>
          <p:cNvPr id="8" name="TextBox 7"/>
          <p:cNvSpPr txBox="1"/>
          <p:nvPr/>
        </p:nvSpPr>
        <p:spPr>
          <a:xfrm rot="1428053">
            <a:off x="6448918" y="4505534"/>
            <a:ext cx="559161" cy="415498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en-US" sz="1050" dirty="0" smtClean="0"/>
              <a:t>Block</a:t>
            </a:r>
          </a:p>
          <a:p>
            <a:r>
              <a:rPr lang="en-US" sz="1050" dirty="0" smtClean="0"/>
              <a:t>chain</a:t>
            </a:r>
            <a:endParaRPr lang="en-US" sz="1050" dirty="0"/>
          </a:p>
        </p:txBody>
      </p:sp>
    </p:spTree>
    <p:extLst>
      <p:ext uri="{BB962C8B-B14F-4D97-AF65-F5344CB8AC3E}">
        <p14:creationId xmlns:p14="http://schemas.microsoft.com/office/powerpoint/2010/main" val="4468496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581871"/>
            <a:ext cx="4175648" cy="4525963"/>
          </a:xfrm>
        </p:spPr>
        <p:txBody>
          <a:bodyPr>
            <a:normAutofit/>
          </a:bodyPr>
          <a:lstStyle/>
          <a:p>
            <a:r>
              <a:rPr lang="en-US" sz="1800" dirty="0" smtClean="0"/>
              <a:t>Mixing services such as </a:t>
            </a:r>
            <a:r>
              <a:rPr lang="en-US" sz="1800" dirty="0" err="1"/>
              <a:t>Z</a:t>
            </a:r>
            <a:r>
              <a:rPr lang="en-US" sz="1800" dirty="0" err="1" smtClean="0"/>
              <a:t>erocoin</a:t>
            </a:r>
            <a:r>
              <a:rPr lang="en-US" sz="1800" dirty="0" smtClean="0"/>
              <a:t> and </a:t>
            </a:r>
            <a:r>
              <a:rPr lang="en-US" sz="1800" dirty="0" err="1" smtClean="0"/>
              <a:t>Xim</a:t>
            </a:r>
            <a:r>
              <a:rPr lang="en-US" sz="1800" dirty="0" smtClean="0"/>
              <a:t> use accumulators and Zero Knowledge Proofs to </a:t>
            </a:r>
            <a:r>
              <a:rPr lang="en-US" sz="1800" u="sng" dirty="0"/>
              <a:t>mix </a:t>
            </a:r>
            <a:r>
              <a:rPr lang="en-US" sz="1800" u="sng" dirty="0" smtClean="0"/>
              <a:t>transactions </a:t>
            </a:r>
            <a:r>
              <a:rPr lang="en-US" sz="1800" dirty="0" smtClean="0"/>
              <a:t>from a </a:t>
            </a:r>
            <a:r>
              <a:rPr lang="en-US" sz="1800" u="sng" dirty="0" smtClean="0"/>
              <a:t>number of addresses together</a:t>
            </a:r>
            <a:r>
              <a:rPr lang="en-US" sz="1800" dirty="0" smtClean="0"/>
              <a:t> and then record them on the blockchain.</a:t>
            </a:r>
          </a:p>
          <a:p>
            <a:r>
              <a:rPr lang="en-US" sz="1800" dirty="0" smtClean="0"/>
              <a:t>Due to this, </a:t>
            </a:r>
            <a:r>
              <a:rPr lang="en-US" sz="1800" u="sng" dirty="0" smtClean="0"/>
              <a:t>it is not possible to identify the individual senders and link them to the anonymous addresses </a:t>
            </a:r>
            <a:r>
              <a:rPr lang="en-US" sz="1800" dirty="0" smtClean="0"/>
              <a:t>on the output</a:t>
            </a:r>
          </a:p>
          <a:p>
            <a:r>
              <a:rPr lang="en-US" sz="1800" dirty="0" smtClean="0"/>
              <a:t>In </a:t>
            </a:r>
            <a:r>
              <a:rPr lang="en-US" sz="1800" dirty="0" err="1" smtClean="0"/>
              <a:t>PETra</a:t>
            </a:r>
            <a:r>
              <a:rPr lang="en-US" sz="1800" dirty="0" smtClean="0"/>
              <a:t>, we build on such a mixing service and use it to provide anonymity for trading</a:t>
            </a:r>
            <a:endParaRPr lang="en-US" sz="180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 sz="3200" dirty="0" smtClean="0"/>
              <a:t>Solution: Mixing Services</a:t>
            </a:r>
            <a:endParaRPr lang="en-US" sz="3200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411306" y="1958008"/>
            <a:ext cx="578678" cy="578678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630505" y="1945346"/>
            <a:ext cx="578678" cy="578678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849704" y="1958008"/>
            <a:ext cx="578678" cy="578678"/>
          </a:xfrm>
          <a:prstGeom prst="rect">
            <a:avLst/>
          </a:prstGeom>
        </p:spPr>
      </p:pic>
      <p:sp>
        <p:nvSpPr>
          <p:cNvPr id="5" name="TextBox 4"/>
          <p:cNvSpPr txBox="1"/>
          <p:nvPr/>
        </p:nvSpPr>
        <p:spPr>
          <a:xfrm>
            <a:off x="4951301" y="1629022"/>
            <a:ext cx="126618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prosumer 1</a:t>
            </a:r>
            <a:endParaRPr lang="en-US" dirty="0"/>
          </a:p>
        </p:txBody>
      </p:sp>
      <p:sp>
        <p:nvSpPr>
          <p:cNvPr id="9" name="TextBox 8"/>
          <p:cNvSpPr txBox="1"/>
          <p:nvPr/>
        </p:nvSpPr>
        <p:spPr>
          <a:xfrm>
            <a:off x="6286754" y="1629022"/>
            <a:ext cx="126618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prosumer 2</a:t>
            </a:r>
            <a:endParaRPr lang="en-US" dirty="0"/>
          </a:p>
        </p:txBody>
      </p:sp>
      <p:sp>
        <p:nvSpPr>
          <p:cNvPr id="10" name="TextBox 9"/>
          <p:cNvSpPr txBox="1"/>
          <p:nvPr/>
        </p:nvSpPr>
        <p:spPr>
          <a:xfrm>
            <a:off x="7611969" y="1629022"/>
            <a:ext cx="126618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mtClean="0"/>
              <a:t>prosumer 3</a:t>
            </a:r>
            <a:endParaRPr lang="en-US" dirty="0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409083" y="2954133"/>
            <a:ext cx="1021522" cy="1021522"/>
          </a:xfrm>
          <a:prstGeom prst="rect">
            <a:avLst/>
          </a:prstGeom>
        </p:spPr>
      </p:pic>
      <p:sp>
        <p:nvSpPr>
          <p:cNvPr id="12" name="TextBox 11"/>
          <p:cNvSpPr txBox="1"/>
          <p:nvPr/>
        </p:nvSpPr>
        <p:spPr>
          <a:xfrm>
            <a:off x="7223058" y="3387311"/>
            <a:ext cx="151560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mtClean="0"/>
              <a:t>mixing service</a:t>
            </a:r>
            <a:endParaRPr lang="en-US" dirty="0"/>
          </a:p>
        </p:txBody>
      </p:sp>
      <p:cxnSp>
        <p:nvCxnSpPr>
          <p:cNvPr id="13" name="Straight Arrow Connector 12"/>
          <p:cNvCxnSpPr>
            <a:stCxn id="4" idx="2"/>
            <a:endCxn id="8" idx="0"/>
          </p:cNvCxnSpPr>
          <p:nvPr/>
        </p:nvCxnSpPr>
        <p:spPr>
          <a:xfrm>
            <a:off x="5700645" y="2536686"/>
            <a:ext cx="1219199" cy="417447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5" name="Straight Arrow Connector 14"/>
          <p:cNvCxnSpPr>
            <a:stCxn id="6" idx="2"/>
            <a:endCxn id="8" idx="0"/>
          </p:cNvCxnSpPr>
          <p:nvPr/>
        </p:nvCxnSpPr>
        <p:spPr>
          <a:xfrm>
            <a:off x="6919844" y="2524024"/>
            <a:ext cx="0" cy="430109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7" name="Straight Arrow Connector 16"/>
          <p:cNvCxnSpPr>
            <a:stCxn id="7" idx="2"/>
            <a:endCxn id="8" idx="0"/>
          </p:cNvCxnSpPr>
          <p:nvPr/>
        </p:nvCxnSpPr>
        <p:spPr>
          <a:xfrm flipH="1">
            <a:off x="6919844" y="2536686"/>
            <a:ext cx="1219199" cy="417447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0" name="TextBox 19"/>
          <p:cNvSpPr txBox="1"/>
          <p:nvPr/>
        </p:nvSpPr>
        <p:spPr>
          <a:xfrm>
            <a:off x="4968502" y="4893708"/>
            <a:ext cx="1278555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dirty="0" smtClean="0"/>
              <a:t>anonymous</a:t>
            </a:r>
            <a:br>
              <a:rPr lang="en-US" dirty="0" smtClean="0"/>
            </a:br>
            <a:r>
              <a:rPr lang="en-US" dirty="0" smtClean="0"/>
              <a:t>address 1</a:t>
            </a:r>
            <a:endParaRPr lang="en-US" dirty="0"/>
          </a:p>
        </p:txBody>
      </p:sp>
      <p:grpSp>
        <p:nvGrpSpPr>
          <p:cNvPr id="21" name="Group 20"/>
          <p:cNvGrpSpPr/>
          <p:nvPr/>
        </p:nvGrpSpPr>
        <p:grpSpPr>
          <a:xfrm>
            <a:off x="5413113" y="4338048"/>
            <a:ext cx="578678" cy="578678"/>
            <a:chOff x="5466121" y="4377804"/>
            <a:chExt cx="578678" cy="578678"/>
          </a:xfrm>
        </p:grpSpPr>
        <p:pic>
          <p:nvPicPr>
            <p:cNvPr id="19" name="Picture 18"/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5466121" y="4377804"/>
              <a:ext cx="578678" cy="578678"/>
            </a:xfrm>
            <a:prstGeom prst="rect">
              <a:avLst/>
            </a:prstGeom>
          </p:spPr>
        </p:pic>
        <p:sp>
          <p:nvSpPr>
            <p:cNvPr id="18" name="TextBox 17"/>
            <p:cNvSpPr txBox="1"/>
            <p:nvPr/>
          </p:nvSpPr>
          <p:spPr>
            <a:xfrm>
              <a:off x="5610089" y="4395132"/>
              <a:ext cx="292068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mtClean="0"/>
                <a:t>?</a:t>
              </a:r>
              <a:endParaRPr lang="en-US"/>
            </a:p>
          </p:txBody>
        </p:sp>
      </p:grpSp>
      <p:grpSp>
        <p:nvGrpSpPr>
          <p:cNvPr id="23" name="Group 22"/>
          <p:cNvGrpSpPr/>
          <p:nvPr/>
        </p:nvGrpSpPr>
        <p:grpSpPr>
          <a:xfrm>
            <a:off x="6630505" y="4355376"/>
            <a:ext cx="578678" cy="578678"/>
            <a:chOff x="5466121" y="4377804"/>
            <a:chExt cx="578678" cy="578678"/>
          </a:xfrm>
        </p:grpSpPr>
        <p:pic>
          <p:nvPicPr>
            <p:cNvPr id="24" name="Picture 23"/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5466121" y="4377804"/>
              <a:ext cx="578678" cy="578678"/>
            </a:xfrm>
            <a:prstGeom prst="rect">
              <a:avLst/>
            </a:prstGeom>
          </p:spPr>
        </p:pic>
        <p:sp>
          <p:nvSpPr>
            <p:cNvPr id="25" name="TextBox 24"/>
            <p:cNvSpPr txBox="1"/>
            <p:nvPr/>
          </p:nvSpPr>
          <p:spPr>
            <a:xfrm>
              <a:off x="5610089" y="4395132"/>
              <a:ext cx="292068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mtClean="0"/>
                <a:t>?</a:t>
              </a:r>
              <a:endParaRPr lang="en-US"/>
            </a:p>
          </p:txBody>
        </p:sp>
      </p:grpSp>
      <p:grpSp>
        <p:nvGrpSpPr>
          <p:cNvPr id="26" name="Group 25"/>
          <p:cNvGrpSpPr/>
          <p:nvPr/>
        </p:nvGrpSpPr>
        <p:grpSpPr>
          <a:xfrm>
            <a:off x="7849704" y="4340745"/>
            <a:ext cx="578678" cy="578678"/>
            <a:chOff x="5466121" y="4377804"/>
            <a:chExt cx="578678" cy="578678"/>
          </a:xfrm>
        </p:grpSpPr>
        <p:pic>
          <p:nvPicPr>
            <p:cNvPr id="27" name="Picture 26"/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5466121" y="4377804"/>
              <a:ext cx="578678" cy="578678"/>
            </a:xfrm>
            <a:prstGeom prst="rect">
              <a:avLst/>
            </a:prstGeom>
          </p:spPr>
        </p:pic>
        <p:sp>
          <p:nvSpPr>
            <p:cNvPr id="28" name="TextBox 27"/>
            <p:cNvSpPr txBox="1"/>
            <p:nvPr/>
          </p:nvSpPr>
          <p:spPr>
            <a:xfrm>
              <a:off x="5610089" y="4395132"/>
              <a:ext cx="292068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mtClean="0"/>
                <a:t>?</a:t>
              </a:r>
              <a:endParaRPr lang="en-US"/>
            </a:p>
          </p:txBody>
        </p:sp>
      </p:grpSp>
      <p:sp>
        <p:nvSpPr>
          <p:cNvPr id="29" name="TextBox 28"/>
          <p:cNvSpPr txBox="1"/>
          <p:nvPr/>
        </p:nvSpPr>
        <p:spPr>
          <a:xfrm>
            <a:off x="6310244" y="4893708"/>
            <a:ext cx="1278555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dirty="0" smtClean="0"/>
              <a:t>anonymous</a:t>
            </a:r>
            <a:br>
              <a:rPr lang="en-US" dirty="0" smtClean="0"/>
            </a:br>
            <a:r>
              <a:rPr lang="en-US" smtClean="0"/>
              <a:t>address 2</a:t>
            </a:r>
            <a:endParaRPr lang="en-US" dirty="0"/>
          </a:p>
        </p:txBody>
      </p:sp>
      <p:sp>
        <p:nvSpPr>
          <p:cNvPr id="30" name="TextBox 29"/>
          <p:cNvSpPr txBox="1"/>
          <p:nvPr/>
        </p:nvSpPr>
        <p:spPr>
          <a:xfrm>
            <a:off x="7646462" y="4916726"/>
            <a:ext cx="1278555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dirty="0" smtClean="0"/>
              <a:t>anonymous</a:t>
            </a:r>
            <a:br>
              <a:rPr lang="en-US" dirty="0" smtClean="0"/>
            </a:br>
            <a:r>
              <a:rPr lang="en-US" dirty="0" smtClean="0"/>
              <a:t>address 3</a:t>
            </a:r>
            <a:endParaRPr lang="en-US" dirty="0"/>
          </a:p>
        </p:txBody>
      </p:sp>
      <p:cxnSp>
        <p:nvCxnSpPr>
          <p:cNvPr id="31" name="Straight Arrow Connector 30"/>
          <p:cNvCxnSpPr>
            <a:stCxn id="8" idx="2"/>
          </p:cNvCxnSpPr>
          <p:nvPr/>
        </p:nvCxnSpPr>
        <p:spPr>
          <a:xfrm flipH="1">
            <a:off x="5702452" y="3975655"/>
            <a:ext cx="1217392" cy="335889"/>
          </a:xfrm>
          <a:prstGeom prst="straightConnector1">
            <a:avLst/>
          </a:prstGeom>
          <a:ln>
            <a:prstDash val="sysDot"/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3" name="Straight Arrow Connector 32"/>
          <p:cNvCxnSpPr>
            <a:stCxn id="8" idx="2"/>
            <a:endCxn id="25" idx="0"/>
          </p:cNvCxnSpPr>
          <p:nvPr/>
        </p:nvCxnSpPr>
        <p:spPr>
          <a:xfrm>
            <a:off x="6919844" y="3975655"/>
            <a:ext cx="663" cy="397049"/>
          </a:xfrm>
          <a:prstGeom prst="straightConnector1">
            <a:avLst/>
          </a:prstGeom>
          <a:ln>
            <a:prstDash val="sysDot"/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5" name="Straight Arrow Connector 34"/>
          <p:cNvCxnSpPr>
            <a:stCxn id="8" idx="2"/>
          </p:cNvCxnSpPr>
          <p:nvPr/>
        </p:nvCxnSpPr>
        <p:spPr>
          <a:xfrm>
            <a:off x="6919844" y="3975655"/>
            <a:ext cx="1219862" cy="355914"/>
          </a:xfrm>
          <a:prstGeom prst="straightConnector1">
            <a:avLst/>
          </a:prstGeom>
          <a:ln>
            <a:prstDash val="sysDot"/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282799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 5"/>
          <p:cNvGrpSpPr/>
          <p:nvPr/>
        </p:nvGrpSpPr>
        <p:grpSpPr>
          <a:xfrm>
            <a:off x="139893" y="1208972"/>
            <a:ext cx="8864213" cy="1674293"/>
            <a:chOff x="60113" y="1381890"/>
            <a:chExt cx="8864213" cy="1674293"/>
          </a:xfrm>
        </p:grpSpPr>
        <p:pic>
          <p:nvPicPr>
            <p:cNvPr id="3" name="Picture 2"/>
            <p:cNvPicPr>
              <a:picLocks noChangeAspect="1"/>
            </p:cNvPicPr>
            <p:nvPr/>
          </p:nvPicPr>
          <p:blipFill rotWithShape="1">
            <a:blip r:embed="rId3"/>
            <a:srcRect t="13173" b="35147"/>
            <a:stretch/>
          </p:blipFill>
          <p:spPr>
            <a:xfrm>
              <a:off x="60113" y="1381890"/>
              <a:ext cx="8864213" cy="1546502"/>
            </a:xfrm>
            <a:prstGeom prst="rect">
              <a:avLst/>
            </a:prstGeom>
          </p:spPr>
        </p:pic>
        <p:sp>
          <p:nvSpPr>
            <p:cNvPr id="4" name="Rectangle 3"/>
            <p:cNvSpPr/>
            <p:nvPr/>
          </p:nvSpPr>
          <p:spPr>
            <a:xfrm>
              <a:off x="288436" y="2927308"/>
              <a:ext cx="638238" cy="128875"/>
            </a:xfrm>
            <a:prstGeom prst="rect">
              <a:avLst/>
            </a:prstGeom>
            <a:ln>
              <a:solidFill>
                <a:schemeClr val="bg1"/>
              </a:solidFill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 sz="3200" dirty="0" smtClean="0"/>
              <a:t>Full Trading Workflow (from Seller’s perspective)</a:t>
            </a:r>
            <a:endParaRPr lang="en-US" sz="3200" dirty="0"/>
          </a:p>
        </p:txBody>
      </p:sp>
      <p:sp>
        <p:nvSpPr>
          <p:cNvPr id="5" name="Rectangle 4"/>
          <p:cNvSpPr/>
          <p:nvPr/>
        </p:nvSpPr>
        <p:spPr>
          <a:xfrm>
            <a:off x="190244" y="3458122"/>
            <a:ext cx="8356090" cy="227754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571500" indent="-571500">
              <a:spcBef>
                <a:spcPts val="600"/>
              </a:spcBef>
              <a:spcAft>
                <a:spcPts val="600"/>
              </a:spcAft>
              <a:buFont typeface="Arial" charset="0"/>
              <a:buChar char="•"/>
            </a:pPr>
            <a:r>
              <a:rPr lang="en-US" sz="1400" dirty="0">
                <a:latin typeface="Verdana" charset="0"/>
                <a:ea typeface="Verdana" charset="0"/>
                <a:cs typeface="Verdana" charset="0"/>
              </a:rPr>
              <a:t>Simplified overview of the flow of assets from the perspective of a prosumer who sells energy.</a:t>
            </a:r>
          </a:p>
          <a:p>
            <a:pPr marL="571500" indent="-571500">
              <a:spcBef>
                <a:spcPts val="600"/>
              </a:spcBef>
              <a:spcAft>
                <a:spcPts val="600"/>
              </a:spcAft>
              <a:buFont typeface="Arial" charset="0"/>
              <a:buChar char="•"/>
            </a:pPr>
            <a:r>
              <a:rPr lang="en-US" sz="1400" dirty="0">
                <a:latin typeface="Verdana" charset="0"/>
                <a:ea typeface="Verdana" charset="0"/>
                <a:cs typeface="Verdana" charset="0"/>
              </a:rPr>
              <a:t>Note that to prevent de-anonymization, </a:t>
            </a:r>
            <a:r>
              <a:rPr lang="en-US" sz="1400" u="sng" dirty="0">
                <a:latin typeface="Verdana" charset="0"/>
                <a:ea typeface="Verdana" charset="0"/>
                <a:cs typeface="Verdana" charset="0"/>
              </a:rPr>
              <a:t>a prosumer should use multiple addresses and multiple rounds of mixing</a:t>
            </a:r>
            <a:r>
              <a:rPr lang="en-US" sz="1400" dirty="0">
                <a:latin typeface="Verdana" charset="0"/>
                <a:ea typeface="Verdana" charset="0"/>
                <a:cs typeface="Verdana" charset="0"/>
              </a:rPr>
              <a:t>, which we have omitted from the figure for clarity of </a:t>
            </a:r>
            <a:r>
              <a:rPr lang="en-US" sz="1400" dirty="0" smtClean="0">
                <a:latin typeface="Verdana" charset="0"/>
                <a:ea typeface="Verdana" charset="0"/>
                <a:cs typeface="Verdana" charset="0"/>
              </a:rPr>
              <a:t>presentation.</a:t>
            </a:r>
          </a:p>
          <a:p>
            <a:pPr marL="571500" indent="-571500">
              <a:spcBef>
                <a:spcPts val="600"/>
              </a:spcBef>
              <a:spcAft>
                <a:spcPts val="600"/>
              </a:spcAft>
              <a:buFont typeface="Arial" charset="0"/>
              <a:buChar char="•"/>
            </a:pPr>
            <a:r>
              <a:rPr lang="en-US" sz="1400" dirty="0" smtClean="0">
                <a:latin typeface="Verdana" charset="0"/>
                <a:ea typeface="Verdana" charset="0"/>
                <a:cs typeface="Verdana" charset="0"/>
              </a:rPr>
              <a:t>DSO </a:t>
            </a:r>
            <a:r>
              <a:rPr lang="en-US" sz="1400" u="sng" dirty="0">
                <a:latin typeface="Verdana" charset="0"/>
                <a:ea typeface="Verdana" charset="0"/>
                <a:cs typeface="Verdana" charset="0"/>
              </a:rPr>
              <a:t>regulates </a:t>
            </a:r>
            <a:r>
              <a:rPr lang="en-US" sz="1400" u="sng" dirty="0" smtClean="0">
                <a:latin typeface="Verdana" charset="0"/>
                <a:ea typeface="Verdana" charset="0"/>
                <a:cs typeface="Verdana" charset="0"/>
              </a:rPr>
              <a:t>using pricing </a:t>
            </a:r>
            <a:r>
              <a:rPr lang="en-US" sz="1400" u="sng" dirty="0">
                <a:latin typeface="Verdana" charset="0"/>
                <a:ea typeface="Verdana" charset="0"/>
                <a:cs typeface="Verdana" charset="0"/>
              </a:rPr>
              <a:t>and </a:t>
            </a:r>
            <a:r>
              <a:rPr lang="en-US" sz="1400" u="sng" dirty="0" smtClean="0">
                <a:latin typeface="Verdana" charset="0"/>
                <a:ea typeface="Verdana" charset="0"/>
                <a:cs typeface="Verdana" charset="0"/>
              </a:rPr>
              <a:t>limiting asset withdrawals </a:t>
            </a:r>
            <a:r>
              <a:rPr lang="en-US" sz="1400" dirty="0" smtClean="0">
                <a:latin typeface="Verdana" charset="0"/>
                <a:ea typeface="Verdana" charset="0"/>
                <a:cs typeface="Verdana" charset="0"/>
              </a:rPr>
              <a:t>(using smart meters)</a:t>
            </a:r>
            <a:endParaRPr lang="en-US" sz="1400" dirty="0">
              <a:latin typeface="Verdana" charset="0"/>
              <a:ea typeface="Verdana" charset="0"/>
              <a:cs typeface="Verdana" charset="0"/>
            </a:endParaRPr>
          </a:p>
          <a:p>
            <a:pPr marL="571500" indent="-571500">
              <a:spcBef>
                <a:spcPts val="600"/>
              </a:spcBef>
              <a:spcAft>
                <a:spcPts val="600"/>
              </a:spcAft>
              <a:buFont typeface="Arial" charset="0"/>
              <a:buChar char="•"/>
            </a:pPr>
            <a:r>
              <a:rPr lang="en-US" sz="1400" dirty="0">
                <a:latin typeface="Verdana" charset="0"/>
                <a:ea typeface="Verdana" charset="0"/>
                <a:cs typeface="Verdana" charset="0"/>
              </a:rPr>
              <a:t>Tracking </a:t>
            </a:r>
            <a:r>
              <a:rPr lang="en-US" sz="1400" dirty="0" smtClean="0">
                <a:latin typeface="Verdana" charset="0"/>
                <a:ea typeface="Verdana" charset="0"/>
                <a:cs typeface="Verdana" charset="0"/>
              </a:rPr>
              <a:t>anonymous energy assets enables </a:t>
            </a:r>
            <a:r>
              <a:rPr lang="en-US" sz="1400" u="sng" dirty="0">
                <a:latin typeface="Verdana" charset="0"/>
                <a:ea typeface="Verdana" charset="0"/>
                <a:cs typeface="Verdana" charset="0"/>
              </a:rPr>
              <a:t>enforcing </a:t>
            </a:r>
            <a:r>
              <a:rPr lang="en-US" sz="1400" u="sng" dirty="0" smtClean="0">
                <a:latin typeface="Verdana" charset="0"/>
                <a:ea typeface="Verdana" charset="0"/>
                <a:cs typeface="Verdana" charset="0"/>
              </a:rPr>
              <a:t>safety </a:t>
            </a:r>
            <a:r>
              <a:rPr lang="en-US" sz="1400" u="sng" dirty="0">
                <a:latin typeface="Verdana" charset="0"/>
                <a:ea typeface="Verdana" charset="0"/>
                <a:cs typeface="Verdana" charset="0"/>
              </a:rPr>
              <a:t>requirements </a:t>
            </a:r>
            <a:r>
              <a:rPr lang="en-US" sz="1400" u="sng" dirty="0" smtClean="0">
                <a:latin typeface="Verdana" charset="0"/>
                <a:ea typeface="Verdana" charset="0"/>
                <a:cs typeface="Verdana" charset="0"/>
              </a:rPr>
              <a:t>(max capacities) </a:t>
            </a:r>
            <a:r>
              <a:rPr lang="en-US" sz="1400" dirty="0" smtClean="0">
                <a:latin typeface="Verdana" charset="0"/>
                <a:ea typeface="Verdana" charset="0"/>
                <a:cs typeface="Verdana" charset="0"/>
              </a:rPr>
              <a:t>without violating prosumer </a:t>
            </a:r>
            <a:r>
              <a:rPr lang="en-US" sz="1400" dirty="0">
                <a:latin typeface="Verdana" charset="0"/>
                <a:ea typeface="Verdana" charset="0"/>
                <a:cs typeface="Verdana" charset="0"/>
              </a:rPr>
              <a:t>privacy</a:t>
            </a:r>
          </a:p>
        </p:txBody>
      </p:sp>
    </p:spTree>
    <p:extLst>
      <p:ext uri="{BB962C8B-B14F-4D97-AF65-F5344CB8AC3E}">
        <p14:creationId xmlns:p14="http://schemas.microsoft.com/office/powerpoint/2010/main" val="26082962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19545" y="1152287"/>
            <a:ext cx="3065388" cy="4525963"/>
          </a:xfrm>
        </p:spPr>
        <p:txBody>
          <a:bodyPr>
            <a:normAutofit/>
          </a:bodyPr>
          <a:lstStyle/>
          <a:p>
            <a:pPr>
              <a:spcAft>
                <a:spcPts val="600"/>
              </a:spcAft>
            </a:pPr>
            <a:r>
              <a:rPr lang="en-US" sz="1800" dirty="0"/>
              <a:t>We used real-world energy production / consumption data from a German </a:t>
            </a:r>
            <a:r>
              <a:rPr lang="en-US" sz="1800" dirty="0" err="1" smtClean="0"/>
              <a:t>microgrid</a:t>
            </a:r>
            <a:r>
              <a:rPr lang="en-US" sz="1800" dirty="0" smtClean="0"/>
              <a:t> provided by Siemens, CT</a:t>
            </a:r>
            <a:endParaRPr lang="en-US" sz="1800" dirty="0"/>
          </a:p>
          <a:p>
            <a:pPr>
              <a:spcAft>
                <a:spcPts val="600"/>
              </a:spcAft>
            </a:pPr>
            <a:r>
              <a:rPr lang="en-US" sz="1800" dirty="0"/>
              <a:t>We deployed our system on a private Ethereum network </a:t>
            </a:r>
          </a:p>
          <a:p>
            <a:pPr>
              <a:spcAft>
                <a:spcPts val="600"/>
              </a:spcAft>
            </a:pPr>
            <a:r>
              <a:rPr lang="en-US" sz="1800" dirty="0"/>
              <a:t>90% of trades were closed within 23 seconds or les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3600" dirty="0" smtClean="0"/>
              <a:t>Evaluation</a:t>
            </a:r>
            <a:endParaRPr lang="en-US" sz="3600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852679" y="938980"/>
            <a:ext cx="5094097" cy="2631249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979263" y="3588158"/>
            <a:ext cx="4877867" cy="2281920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9545" y="4282917"/>
            <a:ext cx="3540700" cy="22306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479869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platzhalter 2"/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4680291" y="1373732"/>
            <a:ext cx="4101947" cy="3272217"/>
          </a:xfrm>
          <a:prstGeom prst="rect">
            <a:avLst/>
          </a:prstGeom>
          <a:ln>
            <a:solidFill>
              <a:srgbClr val="879BAA"/>
            </a:solidFill>
          </a:ln>
        </p:spPr>
        <p:txBody>
          <a:bodyPr vert="horz" wrap="square" lIns="107944" tIns="53972" rIns="53972" bIns="53972" rtlCol="0">
            <a:noAutofit/>
          </a:bodyPr>
          <a:lstStyle>
            <a:lvl1pPr marL="0" marR="0" indent="0" algn="l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Tx/>
              <a:buSzTx/>
              <a:buFont typeface="Wingdings" pitchFamily="2" charset="2"/>
              <a:buNone/>
              <a:tabLst/>
              <a:defRPr lang="en-US"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388" indent="-179388" algn="l" rtl="0" eaLnBrk="0" fontAlgn="base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accent1"/>
              </a:buClr>
              <a:buFont typeface="Arial" pitchFamily="34" charset="0"/>
              <a:buChar char="•"/>
              <a:defRPr sz="1400">
                <a:solidFill>
                  <a:schemeClr val="tx1"/>
                </a:solidFill>
                <a:latin typeface="+mn-lt"/>
                <a:ea typeface="+mn-ea"/>
              </a:defRPr>
            </a:lvl2pPr>
            <a:lvl3pPr marL="358775" indent="-177800" algn="l" rtl="0" eaLnBrk="0" fontAlgn="base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879BAA"/>
              </a:buClr>
              <a:buChar char="•"/>
              <a:defRPr sz="1400">
                <a:solidFill>
                  <a:schemeClr val="tx1"/>
                </a:solidFill>
                <a:latin typeface="+mn-lt"/>
                <a:ea typeface="+mn-ea"/>
              </a:defRPr>
            </a:lvl3pPr>
            <a:lvl4pPr marL="538163" indent="-177800" algn="l" rtl="0" eaLnBrk="0" fontAlgn="base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879BAA"/>
              </a:buClr>
              <a:buChar char="•"/>
              <a:defRPr sz="1400">
                <a:solidFill>
                  <a:schemeClr val="tx1"/>
                </a:solidFill>
                <a:latin typeface="+mn-lt"/>
                <a:ea typeface="+mn-ea"/>
              </a:defRPr>
            </a:lvl4pPr>
            <a:lvl5pPr marL="717550" indent="-177800" algn="l" rtl="0" eaLnBrk="0" fontAlgn="base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879BAA"/>
              </a:buClr>
              <a:buChar char="•"/>
              <a:defRPr sz="1400">
                <a:solidFill>
                  <a:schemeClr val="tx1"/>
                </a:solidFill>
                <a:latin typeface="+mn-lt"/>
                <a:ea typeface="+mn-ea"/>
              </a:defRPr>
            </a:lvl5pPr>
            <a:lvl6pPr marL="1174750" indent="-177800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+mn-lt"/>
                <a:ea typeface="+mn-ea"/>
              </a:defRPr>
            </a:lvl6pPr>
            <a:lvl7pPr marL="1631950" indent="-177800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+mn-lt"/>
                <a:ea typeface="+mn-ea"/>
              </a:defRPr>
            </a:lvl7pPr>
            <a:lvl8pPr marL="2089150" indent="-177800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+mn-lt"/>
                <a:ea typeface="+mn-ea"/>
              </a:defRPr>
            </a:lvl8pPr>
            <a:lvl9pPr marL="2546350" indent="-177800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pPr marL="0" lvl="1" indent="0">
              <a:buNone/>
            </a:pPr>
            <a:endParaRPr lang="en-US" sz="600" dirty="0">
              <a:solidFill>
                <a:srgbClr val="000000"/>
              </a:solidFill>
            </a:endParaRPr>
          </a:p>
          <a:p>
            <a:pPr marL="0" lvl="1" indent="0">
              <a:buNone/>
            </a:pPr>
            <a:endParaRPr lang="en-US" sz="1049" dirty="0">
              <a:solidFill>
                <a:srgbClr val="000000"/>
              </a:solidFill>
            </a:endParaRPr>
          </a:p>
          <a:p>
            <a:pPr lvl="1"/>
            <a:endParaRPr lang="en-US" sz="1049" dirty="0">
              <a:solidFill>
                <a:srgbClr val="000000"/>
              </a:solidFill>
            </a:endParaRPr>
          </a:p>
          <a:p>
            <a:pPr marL="0" lvl="1" indent="0">
              <a:buNone/>
            </a:pPr>
            <a:endParaRPr lang="en-US" sz="1049" dirty="0">
              <a:solidFill>
                <a:srgbClr val="000000"/>
              </a:solidFill>
            </a:endParaRPr>
          </a:p>
          <a:p>
            <a:pPr lvl="1"/>
            <a:endParaRPr lang="en-US" sz="1049" dirty="0">
              <a:solidFill>
                <a:srgbClr val="000000"/>
              </a:solidFill>
            </a:endParaRPr>
          </a:p>
          <a:p>
            <a:pPr lvl="1"/>
            <a:endParaRPr lang="en-AU" sz="1049" dirty="0">
              <a:solidFill>
                <a:srgbClr val="000000"/>
              </a:solidFill>
            </a:endParaRPr>
          </a:p>
          <a:p>
            <a:r>
              <a:rPr lang="en-AU" sz="1049" dirty="0">
                <a:solidFill>
                  <a:srgbClr val="000000"/>
                </a:solidFill>
              </a:rPr>
              <a:t> </a:t>
            </a:r>
          </a:p>
        </p:txBody>
      </p:sp>
      <p:sp>
        <p:nvSpPr>
          <p:cNvPr id="8" name="AutoShape 3"/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470055" y="1083075"/>
            <a:ext cx="4330469" cy="3562873"/>
          </a:xfrm>
          <a:prstGeom prst="homePlate">
            <a:avLst>
              <a:gd name="adj" fmla="val 9126"/>
            </a:avLst>
          </a:prstGeom>
          <a:solidFill>
            <a:srgbClr val="FFFFFF"/>
          </a:solidFill>
          <a:ln w="9525">
            <a:solidFill>
              <a:srgbClr val="879BAA"/>
            </a:solidFill>
            <a:prstDash val="solid"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67473" tIns="80968" rIns="269893" bIns="35086"/>
          <a:lstStyle/>
          <a:p>
            <a:pPr marL="0" lvl="1" eaLnBrk="0" hangingPunct="0">
              <a:spcAft>
                <a:spcPct val="0"/>
              </a:spcAft>
            </a:pPr>
            <a:endParaRPr lang="en-AU" sz="1349" dirty="0"/>
          </a:p>
        </p:txBody>
      </p:sp>
      <p:sp>
        <p:nvSpPr>
          <p:cNvPr id="9" name="Wolke 102"/>
          <p:cNvSpPr/>
          <p:nvPr/>
        </p:nvSpPr>
        <p:spPr bwMode="auto">
          <a:xfrm>
            <a:off x="748545" y="1720093"/>
            <a:ext cx="3931746" cy="2840393"/>
          </a:xfrm>
          <a:prstGeom prst="cloud">
            <a:avLst/>
          </a:prstGeom>
          <a:solidFill>
            <a:schemeClr val="accent2">
              <a:lumMod val="40000"/>
              <a:lumOff val="60000"/>
            </a:schemeClr>
          </a:solidFill>
          <a:ln w="9525">
            <a:solidFill>
              <a:schemeClr val="accent2">
                <a:lumMod val="40000"/>
                <a:lumOff val="60000"/>
              </a:schemeClr>
            </a:solidFill>
            <a:miter lim="800000"/>
            <a:headEnd type="none" w="med" len="med"/>
            <a:tailEnd type="none" w="med" len="med"/>
          </a:ln>
          <a:effectLst/>
          <a:extLst/>
        </p:spPr>
        <p:txBody>
          <a:bodyPr vert="horz" wrap="square" lIns="53972" tIns="53972" rIns="53972" bIns="53972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685434" fontAlgn="base">
              <a:spcBef>
                <a:spcPct val="50000"/>
              </a:spcBef>
              <a:spcAft>
                <a:spcPct val="0"/>
              </a:spcAft>
            </a:pPr>
            <a:endParaRPr lang="en-AU" sz="900" dirty="0">
              <a:solidFill>
                <a:srgbClr val="000000"/>
              </a:solidFill>
              <a:latin typeface="Arial" charset="0"/>
              <a:ea typeface="ヒラギノ角ゴ Pro W3" charset="0"/>
            </a:endParaRPr>
          </a:p>
        </p:txBody>
      </p:sp>
      <p:sp>
        <p:nvSpPr>
          <p:cNvPr id="10" name="Rectangle 3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4680290" y="1083074"/>
            <a:ext cx="4101948" cy="290659"/>
          </a:xfrm>
          <a:prstGeom prst="rect">
            <a:avLst/>
          </a:prstGeom>
          <a:solidFill>
            <a:srgbClr val="BECDD7"/>
          </a:solidFill>
          <a:ln w="9525">
            <a:solidFill>
              <a:srgbClr val="879BAA"/>
            </a:solidFill>
            <a:miter lim="800000"/>
            <a:headEnd/>
            <a:tailEnd/>
          </a:ln>
        </p:spPr>
        <p:txBody>
          <a:bodyPr wrap="square" lIns="107944" tIns="53972" rIns="53972" bIns="53972" anchor="ctr"/>
          <a:lstStyle/>
          <a:p>
            <a:pPr algn="l">
              <a:lnSpc>
                <a:spcPct val="100000"/>
              </a:lnSpc>
            </a:pPr>
            <a:r>
              <a:rPr lang="en-AU" sz="1049" b="1" dirty="0" smtClean="0">
                <a:solidFill>
                  <a:srgbClr val="000000"/>
                </a:solidFill>
              </a:rPr>
              <a:t>Vanderbilt team</a:t>
            </a:r>
            <a:endParaRPr lang="en-AU" sz="1049" b="1" dirty="0">
              <a:solidFill>
                <a:srgbClr val="000000"/>
              </a:solidFill>
            </a:endParaRPr>
          </a:p>
        </p:txBody>
      </p:sp>
      <p:sp>
        <p:nvSpPr>
          <p:cNvPr id="11" name="Textplatzhalter 2"/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448149" y="1271922"/>
            <a:ext cx="3941134" cy="3272217"/>
          </a:xfrm>
          <a:prstGeom prst="rect">
            <a:avLst/>
          </a:prstGeom>
          <a:ln>
            <a:noFill/>
          </a:ln>
        </p:spPr>
        <p:txBody>
          <a:bodyPr vert="horz" wrap="square" lIns="107944" tIns="53972" rIns="53972" bIns="53972" rtlCol="0">
            <a:noAutofit/>
          </a:bodyPr>
          <a:lstStyle>
            <a:lvl1pPr marL="0" marR="0" indent="0" algn="l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Tx/>
              <a:buSzTx/>
              <a:buFont typeface="Wingdings" pitchFamily="2" charset="2"/>
              <a:buNone/>
              <a:tabLst/>
              <a:defRPr lang="en-US"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388" indent="-179388" algn="l" rtl="0" eaLnBrk="0" fontAlgn="base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accent1"/>
              </a:buClr>
              <a:buFont typeface="Arial" pitchFamily="34" charset="0"/>
              <a:buChar char="•"/>
              <a:defRPr sz="1400">
                <a:solidFill>
                  <a:schemeClr val="tx1"/>
                </a:solidFill>
                <a:latin typeface="+mn-lt"/>
                <a:ea typeface="+mn-ea"/>
              </a:defRPr>
            </a:lvl2pPr>
            <a:lvl3pPr marL="358775" indent="-177800" algn="l" rtl="0" eaLnBrk="0" fontAlgn="base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879BAA"/>
              </a:buClr>
              <a:buChar char="•"/>
              <a:defRPr sz="1400">
                <a:solidFill>
                  <a:schemeClr val="tx1"/>
                </a:solidFill>
                <a:latin typeface="+mn-lt"/>
                <a:ea typeface="+mn-ea"/>
              </a:defRPr>
            </a:lvl3pPr>
            <a:lvl4pPr marL="538163" indent="-177800" algn="l" rtl="0" eaLnBrk="0" fontAlgn="base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879BAA"/>
              </a:buClr>
              <a:buChar char="•"/>
              <a:defRPr sz="1400">
                <a:solidFill>
                  <a:schemeClr val="tx1"/>
                </a:solidFill>
                <a:latin typeface="+mn-lt"/>
                <a:ea typeface="+mn-ea"/>
              </a:defRPr>
            </a:lvl4pPr>
            <a:lvl5pPr marL="717550" indent="-177800" algn="l" rtl="0" eaLnBrk="0" fontAlgn="base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879BAA"/>
              </a:buClr>
              <a:buChar char="•"/>
              <a:defRPr sz="1400">
                <a:solidFill>
                  <a:schemeClr val="tx1"/>
                </a:solidFill>
                <a:latin typeface="+mn-lt"/>
                <a:ea typeface="+mn-ea"/>
              </a:defRPr>
            </a:lvl5pPr>
            <a:lvl6pPr marL="1174750" indent="-177800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+mn-lt"/>
                <a:ea typeface="+mn-ea"/>
              </a:defRPr>
            </a:lvl6pPr>
            <a:lvl7pPr marL="1631950" indent="-177800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+mn-lt"/>
                <a:ea typeface="+mn-ea"/>
              </a:defRPr>
            </a:lvl7pPr>
            <a:lvl8pPr marL="2089150" indent="-177800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+mn-lt"/>
                <a:ea typeface="+mn-ea"/>
              </a:defRPr>
            </a:lvl8pPr>
            <a:lvl9pPr marL="2546350" indent="-177800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pPr lvl="1"/>
            <a:endParaRPr lang="en-AU" sz="1049" dirty="0">
              <a:solidFill>
                <a:srgbClr val="000000"/>
              </a:solidFill>
            </a:endParaRPr>
          </a:p>
        </p:txBody>
      </p:sp>
      <p:sp>
        <p:nvSpPr>
          <p:cNvPr id="12" name="Freeform 5"/>
          <p:cNvSpPr>
            <a:spLocks/>
          </p:cNvSpPr>
          <p:nvPr>
            <p:custDataLst>
              <p:tags r:id="rId5"/>
            </p:custDataLst>
          </p:nvPr>
        </p:nvSpPr>
        <p:spPr bwMode="gray">
          <a:xfrm>
            <a:off x="470055" y="1083074"/>
            <a:ext cx="4058151" cy="290659"/>
          </a:xfrm>
          <a:custGeom>
            <a:avLst/>
            <a:gdLst>
              <a:gd name="T0" fmla="*/ 0 w 2569"/>
              <a:gd name="T1" fmla="*/ 0 h 292"/>
              <a:gd name="T2" fmla="*/ 0 w 2569"/>
              <a:gd name="T3" fmla="*/ 292 h 292"/>
              <a:gd name="T4" fmla="*/ 2569 w 2569"/>
              <a:gd name="T5" fmla="*/ 292 h 292"/>
              <a:gd name="T6" fmla="*/ 2500 w 2569"/>
              <a:gd name="T7" fmla="*/ 0 h 292"/>
              <a:gd name="T8" fmla="*/ 0 w 2569"/>
              <a:gd name="T9" fmla="*/ 0 h 292"/>
              <a:gd name="connsiteX0" fmla="*/ 0 w 2569"/>
              <a:gd name="connsiteY0" fmla="*/ 0 h 292"/>
              <a:gd name="connsiteX1" fmla="*/ 0 w 2569"/>
              <a:gd name="connsiteY1" fmla="*/ 292 h 292"/>
              <a:gd name="connsiteX2" fmla="*/ 2569 w 2569"/>
              <a:gd name="connsiteY2" fmla="*/ 292 h 292"/>
              <a:gd name="connsiteX3" fmla="*/ 2500 w 2569"/>
              <a:gd name="connsiteY3" fmla="*/ 0 h 292"/>
              <a:gd name="connsiteX4" fmla="*/ 0 w 2569"/>
              <a:gd name="connsiteY4" fmla="*/ 0 h 292"/>
              <a:gd name="connsiteX0" fmla="*/ 0 w 2569"/>
              <a:gd name="connsiteY0" fmla="*/ 0 h 292"/>
              <a:gd name="connsiteX1" fmla="*/ 2478 w 2569"/>
              <a:gd name="connsiteY1" fmla="*/ 0 h 292"/>
              <a:gd name="connsiteX2" fmla="*/ 2569 w 2569"/>
              <a:gd name="connsiteY2" fmla="*/ 292 h 292"/>
              <a:gd name="connsiteX3" fmla="*/ 2500 w 2569"/>
              <a:gd name="connsiteY3" fmla="*/ 0 h 292"/>
              <a:gd name="connsiteX4" fmla="*/ 0 w 2569"/>
              <a:gd name="connsiteY4" fmla="*/ 0 h 292"/>
              <a:gd name="connsiteX0" fmla="*/ 0 w 2553"/>
              <a:gd name="connsiteY0" fmla="*/ 0 h 292"/>
              <a:gd name="connsiteX1" fmla="*/ 2478 w 2553"/>
              <a:gd name="connsiteY1" fmla="*/ 0 h 292"/>
              <a:gd name="connsiteX2" fmla="*/ 2553 w 2553"/>
              <a:gd name="connsiteY2" fmla="*/ 292 h 292"/>
              <a:gd name="connsiteX3" fmla="*/ 2500 w 2553"/>
              <a:gd name="connsiteY3" fmla="*/ 0 h 292"/>
              <a:gd name="connsiteX4" fmla="*/ 0 w 2553"/>
              <a:gd name="connsiteY4" fmla="*/ 0 h 292"/>
              <a:gd name="connsiteX0" fmla="*/ 0 w 2553"/>
              <a:gd name="connsiteY0" fmla="*/ 0 h 292"/>
              <a:gd name="connsiteX1" fmla="*/ 2478 w 2553"/>
              <a:gd name="connsiteY1" fmla="*/ 0 h 292"/>
              <a:gd name="connsiteX2" fmla="*/ 2553 w 2553"/>
              <a:gd name="connsiteY2" fmla="*/ 292 h 292"/>
              <a:gd name="connsiteX3" fmla="*/ 0 w 2553"/>
              <a:gd name="connsiteY3" fmla="*/ 292 h 292"/>
              <a:gd name="connsiteX4" fmla="*/ 0 w 2553"/>
              <a:gd name="connsiteY4" fmla="*/ 0 h 292"/>
              <a:gd name="connsiteX0" fmla="*/ 0 w 2553"/>
              <a:gd name="connsiteY0" fmla="*/ 0 h 292"/>
              <a:gd name="connsiteX1" fmla="*/ 2478 w 2553"/>
              <a:gd name="connsiteY1" fmla="*/ 0 h 292"/>
              <a:gd name="connsiteX2" fmla="*/ 2553 w 2553"/>
              <a:gd name="connsiteY2" fmla="*/ 292 h 292"/>
              <a:gd name="connsiteX3" fmla="*/ 0 w 2553"/>
              <a:gd name="connsiteY3" fmla="*/ 292 h 292"/>
              <a:gd name="connsiteX4" fmla="*/ 0 w 2553"/>
              <a:gd name="connsiteY4" fmla="*/ 0 h 292"/>
              <a:gd name="connsiteX0" fmla="*/ 0 w 2553"/>
              <a:gd name="connsiteY0" fmla="*/ 0 h 292"/>
              <a:gd name="connsiteX1" fmla="*/ 2478 w 2553"/>
              <a:gd name="connsiteY1" fmla="*/ 0 h 292"/>
              <a:gd name="connsiteX2" fmla="*/ 2553 w 2553"/>
              <a:gd name="connsiteY2" fmla="*/ 292 h 292"/>
              <a:gd name="connsiteX3" fmla="*/ 0 w 2553"/>
              <a:gd name="connsiteY3" fmla="*/ 292 h 292"/>
              <a:gd name="connsiteX4" fmla="*/ 0 w 2553"/>
              <a:gd name="connsiteY4" fmla="*/ 0 h 292"/>
              <a:gd name="connsiteX0" fmla="*/ 0 w 2553"/>
              <a:gd name="connsiteY0" fmla="*/ 0 h 292"/>
              <a:gd name="connsiteX1" fmla="*/ 2478 w 2553"/>
              <a:gd name="connsiteY1" fmla="*/ 0 h 292"/>
              <a:gd name="connsiteX2" fmla="*/ 2553 w 2553"/>
              <a:gd name="connsiteY2" fmla="*/ 292 h 292"/>
              <a:gd name="connsiteX3" fmla="*/ 0 w 2553"/>
              <a:gd name="connsiteY3" fmla="*/ 292 h 292"/>
              <a:gd name="connsiteX4" fmla="*/ 0 w 2553"/>
              <a:gd name="connsiteY4" fmla="*/ 0 h 292"/>
              <a:gd name="connsiteX0" fmla="*/ 0 w 2533"/>
              <a:gd name="connsiteY0" fmla="*/ 0 h 292"/>
              <a:gd name="connsiteX1" fmla="*/ 2478 w 2533"/>
              <a:gd name="connsiteY1" fmla="*/ 0 h 292"/>
              <a:gd name="connsiteX2" fmla="*/ 2533 w 2533"/>
              <a:gd name="connsiteY2" fmla="*/ 292 h 292"/>
              <a:gd name="connsiteX3" fmla="*/ 0 w 2533"/>
              <a:gd name="connsiteY3" fmla="*/ 292 h 292"/>
              <a:gd name="connsiteX4" fmla="*/ 0 w 2533"/>
              <a:gd name="connsiteY4" fmla="*/ 0 h 292"/>
              <a:gd name="connsiteX0" fmla="*/ 0 w 2533"/>
              <a:gd name="connsiteY0" fmla="*/ 0 h 292"/>
              <a:gd name="connsiteX1" fmla="*/ 2478 w 2533"/>
              <a:gd name="connsiteY1" fmla="*/ 0 h 292"/>
              <a:gd name="connsiteX2" fmla="*/ 2533 w 2533"/>
              <a:gd name="connsiteY2" fmla="*/ 292 h 292"/>
              <a:gd name="connsiteX3" fmla="*/ 0 w 2533"/>
              <a:gd name="connsiteY3" fmla="*/ 292 h 292"/>
              <a:gd name="connsiteX4" fmla="*/ 0 w 2533"/>
              <a:gd name="connsiteY4" fmla="*/ 0 h 292"/>
              <a:gd name="connsiteX0" fmla="*/ 0 w 2533"/>
              <a:gd name="connsiteY0" fmla="*/ 0 h 292"/>
              <a:gd name="connsiteX1" fmla="*/ 2478 w 2533"/>
              <a:gd name="connsiteY1" fmla="*/ 0 h 292"/>
              <a:gd name="connsiteX2" fmla="*/ 2533 w 2533"/>
              <a:gd name="connsiteY2" fmla="*/ 292 h 292"/>
              <a:gd name="connsiteX3" fmla="*/ 0 w 2533"/>
              <a:gd name="connsiteY3" fmla="*/ 292 h 292"/>
              <a:gd name="connsiteX4" fmla="*/ 0 w 2533"/>
              <a:gd name="connsiteY4" fmla="*/ 0 h 292"/>
              <a:gd name="connsiteX0" fmla="*/ 0 w 2533"/>
              <a:gd name="connsiteY0" fmla="*/ 0 h 292"/>
              <a:gd name="connsiteX1" fmla="*/ 2478 w 2533"/>
              <a:gd name="connsiteY1" fmla="*/ 0 h 292"/>
              <a:gd name="connsiteX2" fmla="*/ 2533 w 2533"/>
              <a:gd name="connsiteY2" fmla="*/ 292 h 292"/>
              <a:gd name="connsiteX3" fmla="*/ 0 w 2533"/>
              <a:gd name="connsiteY3" fmla="*/ 292 h 292"/>
              <a:gd name="connsiteX4" fmla="*/ 0 w 2533"/>
              <a:gd name="connsiteY4" fmla="*/ 0 h 292"/>
              <a:gd name="connsiteX0" fmla="*/ 0 w 2533"/>
              <a:gd name="connsiteY0" fmla="*/ 0 h 292"/>
              <a:gd name="connsiteX1" fmla="*/ 2491 w 2533"/>
              <a:gd name="connsiteY1" fmla="*/ 0 h 292"/>
              <a:gd name="connsiteX2" fmla="*/ 2533 w 2533"/>
              <a:gd name="connsiteY2" fmla="*/ 292 h 292"/>
              <a:gd name="connsiteX3" fmla="*/ 0 w 2533"/>
              <a:gd name="connsiteY3" fmla="*/ 292 h 292"/>
              <a:gd name="connsiteX4" fmla="*/ 0 w 2533"/>
              <a:gd name="connsiteY4" fmla="*/ 0 h 292"/>
              <a:gd name="connsiteX0" fmla="*/ 0 w 2532"/>
              <a:gd name="connsiteY0" fmla="*/ 0 h 292"/>
              <a:gd name="connsiteX1" fmla="*/ 2491 w 2532"/>
              <a:gd name="connsiteY1" fmla="*/ 0 h 292"/>
              <a:gd name="connsiteX2" fmla="*/ 2532 w 2532"/>
              <a:gd name="connsiteY2" fmla="*/ 292 h 292"/>
              <a:gd name="connsiteX3" fmla="*/ 0 w 2532"/>
              <a:gd name="connsiteY3" fmla="*/ 292 h 292"/>
              <a:gd name="connsiteX4" fmla="*/ 0 w 2532"/>
              <a:gd name="connsiteY4" fmla="*/ 0 h 292"/>
              <a:gd name="connsiteX0" fmla="*/ 0 w 2532"/>
              <a:gd name="connsiteY0" fmla="*/ 0 h 292"/>
              <a:gd name="connsiteX1" fmla="*/ 2491 w 2532"/>
              <a:gd name="connsiteY1" fmla="*/ 0 h 292"/>
              <a:gd name="connsiteX2" fmla="*/ 2532 w 2532"/>
              <a:gd name="connsiteY2" fmla="*/ 292 h 292"/>
              <a:gd name="connsiteX3" fmla="*/ 0 w 2532"/>
              <a:gd name="connsiteY3" fmla="*/ 292 h 292"/>
              <a:gd name="connsiteX4" fmla="*/ 0 w 2532"/>
              <a:gd name="connsiteY4" fmla="*/ 0 h 292"/>
              <a:gd name="connsiteX0" fmla="*/ 0 w 2532"/>
              <a:gd name="connsiteY0" fmla="*/ 0 h 292"/>
              <a:gd name="connsiteX1" fmla="*/ 2491 w 2532"/>
              <a:gd name="connsiteY1" fmla="*/ 0 h 292"/>
              <a:gd name="connsiteX2" fmla="*/ 2532 w 2532"/>
              <a:gd name="connsiteY2" fmla="*/ 292 h 292"/>
              <a:gd name="connsiteX3" fmla="*/ 0 w 2532"/>
              <a:gd name="connsiteY3" fmla="*/ 292 h 292"/>
              <a:gd name="connsiteX4" fmla="*/ 0 w 2532"/>
              <a:gd name="connsiteY4" fmla="*/ 0 h 292"/>
              <a:gd name="connsiteX0" fmla="*/ 0 w 2532"/>
              <a:gd name="connsiteY0" fmla="*/ 0 h 292"/>
              <a:gd name="connsiteX1" fmla="*/ 2491 w 2532"/>
              <a:gd name="connsiteY1" fmla="*/ 0 h 292"/>
              <a:gd name="connsiteX2" fmla="*/ 2532 w 2532"/>
              <a:gd name="connsiteY2" fmla="*/ 292 h 292"/>
              <a:gd name="connsiteX3" fmla="*/ 0 w 2532"/>
              <a:gd name="connsiteY3" fmla="*/ 292 h 292"/>
              <a:gd name="connsiteX4" fmla="*/ 0 w 2532"/>
              <a:gd name="connsiteY4" fmla="*/ 0 h 292"/>
              <a:gd name="connsiteX0" fmla="*/ 0 w 2536"/>
              <a:gd name="connsiteY0" fmla="*/ 0 h 292"/>
              <a:gd name="connsiteX1" fmla="*/ 2536 w 2536"/>
              <a:gd name="connsiteY1" fmla="*/ 0 h 292"/>
              <a:gd name="connsiteX2" fmla="*/ 2532 w 2536"/>
              <a:gd name="connsiteY2" fmla="*/ 292 h 292"/>
              <a:gd name="connsiteX3" fmla="*/ 0 w 2536"/>
              <a:gd name="connsiteY3" fmla="*/ 292 h 292"/>
              <a:gd name="connsiteX4" fmla="*/ 0 w 2536"/>
              <a:gd name="connsiteY4" fmla="*/ 0 h 292"/>
              <a:gd name="connsiteX0" fmla="*/ 0 w 2569"/>
              <a:gd name="connsiteY0" fmla="*/ 0 h 292"/>
              <a:gd name="connsiteX1" fmla="*/ 2536 w 2569"/>
              <a:gd name="connsiteY1" fmla="*/ 0 h 292"/>
              <a:gd name="connsiteX2" fmla="*/ 2569 w 2569"/>
              <a:gd name="connsiteY2" fmla="*/ 292 h 292"/>
              <a:gd name="connsiteX3" fmla="*/ 0 w 2569"/>
              <a:gd name="connsiteY3" fmla="*/ 292 h 292"/>
              <a:gd name="connsiteX4" fmla="*/ 0 w 2569"/>
              <a:gd name="connsiteY4" fmla="*/ 0 h 292"/>
              <a:gd name="connsiteX0" fmla="*/ 0 w 2569"/>
              <a:gd name="connsiteY0" fmla="*/ 0 h 292"/>
              <a:gd name="connsiteX1" fmla="*/ 2536 w 2569"/>
              <a:gd name="connsiteY1" fmla="*/ 0 h 292"/>
              <a:gd name="connsiteX2" fmla="*/ 2569 w 2569"/>
              <a:gd name="connsiteY2" fmla="*/ 292 h 292"/>
              <a:gd name="connsiteX3" fmla="*/ 0 w 2569"/>
              <a:gd name="connsiteY3" fmla="*/ 292 h 292"/>
              <a:gd name="connsiteX4" fmla="*/ 0 w 2569"/>
              <a:gd name="connsiteY4" fmla="*/ 0 h 292"/>
              <a:gd name="connsiteX0" fmla="*/ 0 w 2569"/>
              <a:gd name="connsiteY0" fmla="*/ 0 h 292"/>
              <a:gd name="connsiteX1" fmla="*/ 2536 w 2569"/>
              <a:gd name="connsiteY1" fmla="*/ 0 h 292"/>
              <a:gd name="connsiteX2" fmla="*/ 2569 w 2569"/>
              <a:gd name="connsiteY2" fmla="*/ 292 h 292"/>
              <a:gd name="connsiteX3" fmla="*/ 0 w 2569"/>
              <a:gd name="connsiteY3" fmla="*/ 292 h 292"/>
              <a:gd name="connsiteX4" fmla="*/ 0 w 2569"/>
              <a:gd name="connsiteY4" fmla="*/ 0 h 2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69" h="292">
                <a:moveTo>
                  <a:pt x="0" y="0"/>
                </a:moveTo>
                <a:lnTo>
                  <a:pt x="2536" y="0"/>
                </a:lnTo>
                <a:lnTo>
                  <a:pt x="2569" y="292"/>
                </a:lnTo>
                <a:lnTo>
                  <a:pt x="0" y="292"/>
                </a:lnTo>
                <a:lnTo>
                  <a:pt x="0" y="0"/>
                </a:lnTo>
                <a:close/>
              </a:path>
            </a:pathLst>
          </a:custGeom>
          <a:solidFill>
            <a:srgbClr val="BECDD7"/>
          </a:solidFill>
          <a:ln w="9525" cap="flat" cmpd="sng">
            <a:solidFill>
              <a:srgbClr val="879BAA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pPr algn="l"/>
            <a:endParaRPr lang="en-AU" sz="1349" b="1" dirty="0"/>
          </a:p>
        </p:txBody>
      </p:sp>
      <p:sp>
        <p:nvSpPr>
          <p:cNvPr id="13" name="Rectangle 3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470056" y="1083074"/>
            <a:ext cx="3941134" cy="2906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07944" tIns="53972" rIns="53972" bIns="53972" anchor="ctr"/>
          <a:lstStyle/>
          <a:p>
            <a:pPr algn="l">
              <a:lnSpc>
                <a:spcPct val="100000"/>
              </a:lnSpc>
            </a:pPr>
            <a:r>
              <a:rPr lang="en-AU" sz="1049" b="1" dirty="0">
                <a:solidFill>
                  <a:srgbClr val="000000"/>
                </a:solidFill>
              </a:rPr>
              <a:t>P2P Energy Trading in a Microgrid</a:t>
            </a:r>
          </a:p>
        </p:txBody>
      </p:sp>
      <p:sp>
        <p:nvSpPr>
          <p:cNvPr id="14" name="Ellipse 8"/>
          <p:cNvSpPr/>
          <p:nvPr/>
        </p:nvSpPr>
        <p:spPr bwMode="auto">
          <a:xfrm>
            <a:off x="2074247" y="2470177"/>
            <a:ext cx="896271" cy="839756"/>
          </a:xfrm>
          <a:prstGeom prst="ellipse">
            <a:avLst/>
          </a:prstGeom>
          <a:noFill/>
          <a:ln w="19050">
            <a:solidFill>
              <a:srgbClr val="50BED7"/>
            </a:solidFill>
            <a:miter lim="800000"/>
            <a:headEnd type="none" w="med" len="med"/>
            <a:tailEnd type="triangl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defTabSz="685434" fontAlgn="base">
              <a:spcBef>
                <a:spcPct val="50000"/>
              </a:spcBef>
              <a:spcAft>
                <a:spcPct val="0"/>
              </a:spcAft>
            </a:pPr>
            <a:endParaRPr lang="en-AU" sz="1799" dirty="0">
              <a:solidFill>
                <a:srgbClr val="000000"/>
              </a:solidFill>
              <a:latin typeface="Arial" charset="0"/>
              <a:ea typeface="ヒラギノ角ゴ Pro W3" charset="0"/>
            </a:endParaRPr>
          </a:p>
        </p:txBody>
      </p:sp>
      <p:cxnSp>
        <p:nvCxnSpPr>
          <p:cNvPr id="15" name="Gerade Verbindung 10"/>
          <p:cNvCxnSpPr/>
          <p:nvPr/>
        </p:nvCxnSpPr>
        <p:spPr bwMode="auto">
          <a:xfrm>
            <a:off x="663685" y="2867954"/>
            <a:ext cx="1410561" cy="11384"/>
          </a:xfrm>
          <a:prstGeom prst="line">
            <a:avLst/>
          </a:prstGeom>
          <a:noFill/>
          <a:ln w="19050">
            <a:solidFill>
              <a:srgbClr val="50BED7"/>
            </a:solidFill>
            <a:miter lim="800000"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cxnSp>
        <p:nvCxnSpPr>
          <p:cNvPr id="16" name="Gerade Verbindung 12"/>
          <p:cNvCxnSpPr/>
          <p:nvPr/>
        </p:nvCxnSpPr>
        <p:spPr bwMode="auto">
          <a:xfrm>
            <a:off x="1958419" y="2892833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7" name="Gerade Verbindung 16"/>
          <p:cNvCxnSpPr/>
          <p:nvPr/>
        </p:nvCxnSpPr>
        <p:spPr bwMode="auto">
          <a:xfrm flipV="1">
            <a:off x="1366112" y="2879338"/>
            <a:ext cx="0" cy="215912"/>
          </a:xfrm>
          <a:prstGeom prst="line">
            <a:avLst/>
          </a:prstGeom>
          <a:noFill/>
          <a:ln w="19050">
            <a:solidFill>
              <a:srgbClr val="50BED7"/>
            </a:solidFill>
            <a:miter lim="800000"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cxnSp>
        <p:nvCxnSpPr>
          <p:cNvPr id="18" name="Gerade Verbindung 19"/>
          <p:cNvCxnSpPr/>
          <p:nvPr/>
        </p:nvCxnSpPr>
        <p:spPr bwMode="auto">
          <a:xfrm flipV="1">
            <a:off x="1609012" y="2652042"/>
            <a:ext cx="0" cy="215912"/>
          </a:xfrm>
          <a:prstGeom prst="line">
            <a:avLst/>
          </a:prstGeom>
          <a:noFill/>
          <a:ln w="19050">
            <a:solidFill>
              <a:srgbClr val="50BED7"/>
            </a:solidFill>
            <a:miter lim="800000"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cxnSp>
        <p:nvCxnSpPr>
          <p:cNvPr id="19" name="Gerade Verbindung 20"/>
          <p:cNvCxnSpPr/>
          <p:nvPr/>
        </p:nvCxnSpPr>
        <p:spPr bwMode="auto">
          <a:xfrm flipV="1">
            <a:off x="818511" y="2870415"/>
            <a:ext cx="0" cy="215912"/>
          </a:xfrm>
          <a:prstGeom prst="line">
            <a:avLst/>
          </a:prstGeom>
          <a:noFill/>
          <a:ln w="19050">
            <a:solidFill>
              <a:srgbClr val="50BED7"/>
            </a:solidFill>
            <a:miter lim="800000"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grpSp>
        <p:nvGrpSpPr>
          <p:cNvPr id="20" name="Gruppieren 25"/>
          <p:cNvGrpSpPr/>
          <p:nvPr/>
        </p:nvGrpSpPr>
        <p:grpSpPr>
          <a:xfrm>
            <a:off x="555730" y="3198879"/>
            <a:ext cx="446039" cy="276174"/>
            <a:chOff x="1012176" y="4371236"/>
            <a:chExt cx="595029" cy="368424"/>
          </a:xfrm>
        </p:grpSpPr>
        <p:sp>
          <p:nvSpPr>
            <p:cNvPr id="21" name="Rechteck 80"/>
            <p:cNvSpPr/>
            <p:nvPr/>
          </p:nvSpPr>
          <p:spPr bwMode="auto">
            <a:xfrm>
              <a:off x="1012176" y="4371236"/>
              <a:ext cx="595029" cy="368424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accent1"/>
              </a:solidFill>
              <a:miter lim="800000"/>
              <a:headEnd/>
              <a:tailEnd type="triangle"/>
            </a:ln>
            <a:effectLst/>
            <a:extLst/>
          </p:spPr>
          <p:txBody>
            <a:bodyPr vert="horz" wrap="square" lIns="26986" tIns="26986" rIns="26986" bIns="26986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AU" sz="750" dirty="0">
                <a:solidFill>
                  <a:srgbClr val="000000"/>
                </a:solidFill>
                <a:latin typeface="Arial" charset="0"/>
                <a:ea typeface="ヒラギノ角ゴ Pro W3" charset="0"/>
              </a:endParaRPr>
            </a:p>
          </p:txBody>
        </p:sp>
        <p:sp>
          <p:nvSpPr>
            <p:cNvPr id="22" name="Freeform 9"/>
            <p:cNvSpPr>
              <a:spLocks noEditPoints="1"/>
            </p:cNvSpPr>
            <p:nvPr/>
          </p:nvSpPr>
          <p:spPr bwMode="gray">
            <a:xfrm>
              <a:off x="1165675" y="4426309"/>
              <a:ext cx="288031" cy="258279"/>
            </a:xfrm>
            <a:custGeom>
              <a:avLst/>
              <a:gdLst>
                <a:gd name="T0" fmla="*/ 691 w 1432"/>
                <a:gd name="T1" fmla="*/ 399 h 1034"/>
                <a:gd name="T2" fmla="*/ 463 w 1432"/>
                <a:gd name="T3" fmla="*/ 399 h 1034"/>
                <a:gd name="T4" fmla="*/ 442 w 1432"/>
                <a:gd name="T5" fmla="*/ 506 h 1034"/>
                <a:gd name="T6" fmla="*/ 691 w 1432"/>
                <a:gd name="T7" fmla="*/ 506 h 1034"/>
                <a:gd name="T8" fmla="*/ 691 w 1432"/>
                <a:gd name="T9" fmla="*/ 399 h 1034"/>
                <a:gd name="T10" fmla="*/ 413 w 1432"/>
                <a:gd name="T11" fmla="*/ 399 h 1034"/>
                <a:gd name="T12" fmla="*/ 185 w 1432"/>
                <a:gd name="T13" fmla="*/ 399 h 1034"/>
                <a:gd name="T14" fmla="*/ 150 w 1432"/>
                <a:gd name="T15" fmla="*/ 506 h 1034"/>
                <a:gd name="T16" fmla="*/ 399 w 1432"/>
                <a:gd name="T17" fmla="*/ 506 h 1034"/>
                <a:gd name="T18" fmla="*/ 413 w 1432"/>
                <a:gd name="T19" fmla="*/ 399 h 1034"/>
                <a:gd name="T20" fmla="*/ 691 w 1432"/>
                <a:gd name="T21" fmla="*/ 235 h 1034"/>
                <a:gd name="T22" fmla="*/ 492 w 1432"/>
                <a:gd name="T23" fmla="*/ 235 h 1034"/>
                <a:gd name="T24" fmla="*/ 470 w 1432"/>
                <a:gd name="T25" fmla="*/ 349 h 1034"/>
                <a:gd name="T26" fmla="*/ 691 w 1432"/>
                <a:gd name="T27" fmla="*/ 349 h 1034"/>
                <a:gd name="T28" fmla="*/ 691 w 1432"/>
                <a:gd name="T29" fmla="*/ 235 h 1034"/>
                <a:gd name="T30" fmla="*/ 442 w 1432"/>
                <a:gd name="T31" fmla="*/ 235 h 1034"/>
                <a:gd name="T32" fmla="*/ 249 w 1432"/>
                <a:gd name="T33" fmla="*/ 235 h 1034"/>
                <a:gd name="T34" fmla="*/ 207 w 1432"/>
                <a:gd name="T35" fmla="*/ 349 h 1034"/>
                <a:gd name="T36" fmla="*/ 427 w 1432"/>
                <a:gd name="T37" fmla="*/ 349 h 1034"/>
                <a:gd name="T38" fmla="*/ 442 w 1432"/>
                <a:gd name="T39" fmla="*/ 235 h 1034"/>
                <a:gd name="T40" fmla="*/ 734 w 1432"/>
                <a:gd name="T41" fmla="*/ 399 h 1034"/>
                <a:gd name="T42" fmla="*/ 969 w 1432"/>
                <a:gd name="T43" fmla="*/ 399 h 1034"/>
                <a:gd name="T44" fmla="*/ 983 w 1432"/>
                <a:gd name="T45" fmla="*/ 506 h 1034"/>
                <a:gd name="T46" fmla="*/ 734 w 1432"/>
                <a:gd name="T47" fmla="*/ 506 h 1034"/>
                <a:gd name="T48" fmla="*/ 734 w 1432"/>
                <a:gd name="T49" fmla="*/ 399 h 1034"/>
                <a:gd name="T50" fmla="*/ 1012 w 1432"/>
                <a:gd name="T51" fmla="*/ 399 h 1034"/>
                <a:gd name="T52" fmla="*/ 1240 w 1432"/>
                <a:gd name="T53" fmla="*/ 399 h 1034"/>
                <a:gd name="T54" fmla="*/ 1282 w 1432"/>
                <a:gd name="T55" fmla="*/ 506 h 1034"/>
                <a:gd name="T56" fmla="*/ 1033 w 1432"/>
                <a:gd name="T57" fmla="*/ 506 h 1034"/>
                <a:gd name="T58" fmla="*/ 1012 w 1432"/>
                <a:gd name="T59" fmla="*/ 399 h 1034"/>
                <a:gd name="T60" fmla="*/ 734 w 1432"/>
                <a:gd name="T61" fmla="*/ 235 h 1034"/>
                <a:gd name="T62" fmla="*/ 940 w 1432"/>
                <a:gd name="T63" fmla="*/ 235 h 1034"/>
                <a:gd name="T64" fmla="*/ 955 w 1432"/>
                <a:gd name="T65" fmla="*/ 349 h 1034"/>
                <a:gd name="T66" fmla="*/ 734 w 1432"/>
                <a:gd name="T67" fmla="*/ 349 h 1034"/>
                <a:gd name="T68" fmla="*/ 734 w 1432"/>
                <a:gd name="T69" fmla="*/ 235 h 1034"/>
                <a:gd name="T70" fmla="*/ 983 w 1432"/>
                <a:gd name="T71" fmla="*/ 235 h 1034"/>
                <a:gd name="T72" fmla="*/ 1183 w 1432"/>
                <a:gd name="T73" fmla="*/ 235 h 1034"/>
                <a:gd name="T74" fmla="*/ 1225 w 1432"/>
                <a:gd name="T75" fmla="*/ 349 h 1034"/>
                <a:gd name="T76" fmla="*/ 1005 w 1432"/>
                <a:gd name="T77" fmla="*/ 349 h 1034"/>
                <a:gd name="T78" fmla="*/ 983 w 1432"/>
                <a:gd name="T79" fmla="*/ 235 h 1034"/>
                <a:gd name="T80" fmla="*/ 1254 w 1432"/>
                <a:gd name="T81" fmla="*/ 171 h 1034"/>
                <a:gd name="T82" fmla="*/ 506 w 1432"/>
                <a:gd name="T83" fmla="*/ 171 h 1034"/>
                <a:gd name="T84" fmla="*/ 506 w 1432"/>
                <a:gd name="T85" fmla="*/ 0 h 1034"/>
                <a:gd name="T86" fmla="*/ 356 w 1432"/>
                <a:gd name="T87" fmla="*/ 0 h 1034"/>
                <a:gd name="T88" fmla="*/ 356 w 1432"/>
                <a:gd name="T89" fmla="*/ 171 h 1034"/>
                <a:gd name="T90" fmla="*/ 178 w 1432"/>
                <a:gd name="T91" fmla="*/ 171 h 1034"/>
                <a:gd name="T92" fmla="*/ 0 w 1432"/>
                <a:gd name="T93" fmla="*/ 599 h 1034"/>
                <a:gd name="T94" fmla="*/ 178 w 1432"/>
                <a:gd name="T95" fmla="*/ 599 h 1034"/>
                <a:gd name="T96" fmla="*/ 178 w 1432"/>
                <a:gd name="T97" fmla="*/ 1034 h 1034"/>
                <a:gd name="T98" fmla="*/ 1254 w 1432"/>
                <a:gd name="T99" fmla="*/ 1034 h 1034"/>
                <a:gd name="T100" fmla="*/ 1254 w 1432"/>
                <a:gd name="T101" fmla="*/ 599 h 1034"/>
                <a:gd name="T102" fmla="*/ 1432 w 1432"/>
                <a:gd name="T103" fmla="*/ 599 h 1034"/>
                <a:gd name="T104" fmla="*/ 1254 w 1432"/>
                <a:gd name="T105" fmla="*/ 171 h 10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432" h="1034">
                  <a:moveTo>
                    <a:pt x="691" y="399"/>
                  </a:moveTo>
                  <a:lnTo>
                    <a:pt x="463" y="399"/>
                  </a:lnTo>
                  <a:lnTo>
                    <a:pt x="442" y="506"/>
                  </a:lnTo>
                  <a:lnTo>
                    <a:pt x="691" y="506"/>
                  </a:lnTo>
                  <a:lnTo>
                    <a:pt x="691" y="399"/>
                  </a:lnTo>
                  <a:close/>
                  <a:moveTo>
                    <a:pt x="413" y="399"/>
                  </a:moveTo>
                  <a:lnTo>
                    <a:pt x="185" y="399"/>
                  </a:lnTo>
                  <a:lnTo>
                    <a:pt x="150" y="506"/>
                  </a:lnTo>
                  <a:lnTo>
                    <a:pt x="399" y="506"/>
                  </a:lnTo>
                  <a:lnTo>
                    <a:pt x="413" y="399"/>
                  </a:lnTo>
                  <a:close/>
                  <a:moveTo>
                    <a:pt x="691" y="235"/>
                  </a:moveTo>
                  <a:lnTo>
                    <a:pt x="492" y="235"/>
                  </a:lnTo>
                  <a:lnTo>
                    <a:pt x="470" y="349"/>
                  </a:lnTo>
                  <a:lnTo>
                    <a:pt x="691" y="349"/>
                  </a:lnTo>
                  <a:lnTo>
                    <a:pt x="691" y="235"/>
                  </a:lnTo>
                  <a:close/>
                  <a:moveTo>
                    <a:pt x="442" y="235"/>
                  </a:moveTo>
                  <a:lnTo>
                    <a:pt x="249" y="235"/>
                  </a:lnTo>
                  <a:lnTo>
                    <a:pt x="207" y="349"/>
                  </a:lnTo>
                  <a:lnTo>
                    <a:pt x="427" y="349"/>
                  </a:lnTo>
                  <a:lnTo>
                    <a:pt x="442" y="235"/>
                  </a:lnTo>
                  <a:close/>
                  <a:moveTo>
                    <a:pt x="734" y="399"/>
                  </a:moveTo>
                  <a:lnTo>
                    <a:pt x="969" y="399"/>
                  </a:lnTo>
                  <a:lnTo>
                    <a:pt x="983" y="506"/>
                  </a:lnTo>
                  <a:lnTo>
                    <a:pt x="734" y="506"/>
                  </a:lnTo>
                  <a:lnTo>
                    <a:pt x="734" y="399"/>
                  </a:lnTo>
                  <a:close/>
                  <a:moveTo>
                    <a:pt x="1012" y="399"/>
                  </a:moveTo>
                  <a:lnTo>
                    <a:pt x="1240" y="399"/>
                  </a:lnTo>
                  <a:lnTo>
                    <a:pt x="1282" y="506"/>
                  </a:lnTo>
                  <a:lnTo>
                    <a:pt x="1033" y="506"/>
                  </a:lnTo>
                  <a:lnTo>
                    <a:pt x="1012" y="399"/>
                  </a:lnTo>
                  <a:close/>
                  <a:moveTo>
                    <a:pt x="734" y="235"/>
                  </a:moveTo>
                  <a:lnTo>
                    <a:pt x="940" y="235"/>
                  </a:lnTo>
                  <a:lnTo>
                    <a:pt x="955" y="349"/>
                  </a:lnTo>
                  <a:lnTo>
                    <a:pt x="734" y="349"/>
                  </a:lnTo>
                  <a:lnTo>
                    <a:pt x="734" y="235"/>
                  </a:lnTo>
                  <a:close/>
                  <a:moveTo>
                    <a:pt x="983" y="235"/>
                  </a:moveTo>
                  <a:lnTo>
                    <a:pt x="1183" y="235"/>
                  </a:lnTo>
                  <a:lnTo>
                    <a:pt x="1225" y="349"/>
                  </a:lnTo>
                  <a:lnTo>
                    <a:pt x="1005" y="349"/>
                  </a:lnTo>
                  <a:lnTo>
                    <a:pt x="983" y="235"/>
                  </a:lnTo>
                  <a:close/>
                  <a:moveTo>
                    <a:pt x="1254" y="171"/>
                  </a:moveTo>
                  <a:lnTo>
                    <a:pt x="506" y="171"/>
                  </a:lnTo>
                  <a:lnTo>
                    <a:pt x="506" y="0"/>
                  </a:lnTo>
                  <a:lnTo>
                    <a:pt x="356" y="0"/>
                  </a:lnTo>
                  <a:lnTo>
                    <a:pt x="356" y="171"/>
                  </a:lnTo>
                  <a:lnTo>
                    <a:pt x="178" y="171"/>
                  </a:lnTo>
                  <a:lnTo>
                    <a:pt x="0" y="599"/>
                  </a:lnTo>
                  <a:lnTo>
                    <a:pt x="178" y="599"/>
                  </a:lnTo>
                  <a:lnTo>
                    <a:pt x="178" y="1034"/>
                  </a:lnTo>
                  <a:lnTo>
                    <a:pt x="1254" y="1034"/>
                  </a:lnTo>
                  <a:lnTo>
                    <a:pt x="1254" y="599"/>
                  </a:lnTo>
                  <a:lnTo>
                    <a:pt x="1432" y="599"/>
                  </a:lnTo>
                  <a:lnTo>
                    <a:pt x="1254" y="171"/>
                  </a:lnTo>
                  <a:close/>
                </a:path>
              </a:pathLst>
            </a:custGeom>
            <a:solidFill>
              <a:srgbClr val="505A64"/>
            </a:solidFill>
            <a:ln>
              <a:noFill/>
            </a:ln>
            <a:extLst/>
          </p:spPr>
          <p:txBody>
            <a:bodyPr vert="horz" wrap="square" lIns="68544" tIns="34272" rIns="68544" bIns="34272" numCol="1" anchor="t" anchorCtr="0" compatLnSpc="1">
              <a:prstTxWarp prst="textNoShape">
                <a:avLst/>
              </a:prstTxWarp>
            </a:bodyPr>
            <a:lstStyle/>
            <a:p>
              <a:endParaRPr lang="en-AU" sz="1349" dirty="0"/>
            </a:p>
          </p:txBody>
        </p:sp>
      </p:grpSp>
      <p:cxnSp>
        <p:nvCxnSpPr>
          <p:cNvPr id="23" name="Gerade Verbindung 42"/>
          <p:cNvCxnSpPr/>
          <p:nvPr/>
        </p:nvCxnSpPr>
        <p:spPr bwMode="auto">
          <a:xfrm flipH="1" flipV="1">
            <a:off x="2526313" y="3323420"/>
            <a:ext cx="7121" cy="1190593"/>
          </a:xfrm>
          <a:prstGeom prst="line">
            <a:avLst/>
          </a:prstGeom>
          <a:noFill/>
          <a:ln w="19050">
            <a:solidFill>
              <a:srgbClr val="50BED7"/>
            </a:solidFill>
            <a:miter lim="800000"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cxnSp>
        <p:nvCxnSpPr>
          <p:cNvPr id="24" name="Gerade Verbindung 46"/>
          <p:cNvCxnSpPr/>
          <p:nvPr/>
        </p:nvCxnSpPr>
        <p:spPr bwMode="auto">
          <a:xfrm flipV="1">
            <a:off x="1069233" y="2648358"/>
            <a:ext cx="0" cy="215912"/>
          </a:xfrm>
          <a:prstGeom prst="line">
            <a:avLst/>
          </a:prstGeom>
          <a:noFill/>
          <a:ln w="19050">
            <a:solidFill>
              <a:srgbClr val="50BED7"/>
            </a:solidFill>
            <a:miter lim="800000"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cxnSp>
        <p:nvCxnSpPr>
          <p:cNvPr id="25" name="Gerade Verbindung 47"/>
          <p:cNvCxnSpPr/>
          <p:nvPr/>
        </p:nvCxnSpPr>
        <p:spPr bwMode="auto">
          <a:xfrm>
            <a:off x="2317547" y="3680561"/>
            <a:ext cx="215888" cy="0"/>
          </a:xfrm>
          <a:prstGeom prst="line">
            <a:avLst/>
          </a:prstGeom>
          <a:noFill/>
          <a:ln w="19050">
            <a:solidFill>
              <a:srgbClr val="50BED7"/>
            </a:solidFill>
            <a:miter lim="800000"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cxnSp>
        <p:nvCxnSpPr>
          <p:cNvPr id="26" name="Gerade Verbindung 50"/>
          <p:cNvCxnSpPr/>
          <p:nvPr/>
        </p:nvCxnSpPr>
        <p:spPr bwMode="auto">
          <a:xfrm>
            <a:off x="2317547" y="4129607"/>
            <a:ext cx="215888" cy="0"/>
          </a:xfrm>
          <a:prstGeom prst="line">
            <a:avLst/>
          </a:prstGeom>
          <a:noFill/>
          <a:ln w="19050">
            <a:solidFill>
              <a:srgbClr val="50BED7"/>
            </a:solidFill>
            <a:miter lim="800000"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cxnSp>
        <p:nvCxnSpPr>
          <p:cNvPr id="27" name="Gerade Verbindung 51"/>
          <p:cNvCxnSpPr/>
          <p:nvPr/>
        </p:nvCxnSpPr>
        <p:spPr bwMode="auto">
          <a:xfrm>
            <a:off x="2526313" y="3899290"/>
            <a:ext cx="215888" cy="0"/>
          </a:xfrm>
          <a:prstGeom prst="line">
            <a:avLst/>
          </a:prstGeom>
          <a:noFill/>
          <a:ln w="19050">
            <a:solidFill>
              <a:srgbClr val="50BED7"/>
            </a:solidFill>
            <a:miter lim="800000"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sp>
        <p:nvSpPr>
          <p:cNvPr id="28" name="Rechteck 53"/>
          <p:cNvSpPr/>
          <p:nvPr/>
        </p:nvSpPr>
        <p:spPr bwMode="auto">
          <a:xfrm>
            <a:off x="2445345" y="3242468"/>
            <a:ext cx="134930" cy="134930"/>
          </a:xfrm>
          <a:prstGeom prst="rect">
            <a:avLst/>
          </a:prstGeom>
          <a:solidFill>
            <a:srgbClr val="AAB414"/>
          </a:solidFill>
          <a:ln w="9525">
            <a:solidFill>
              <a:srgbClr val="AAB414"/>
            </a:solidFill>
            <a:miter lim="800000"/>
            <a:headEnd/>
            <a:tailEnd/>
          </a:ln>
          <a:effectLst/>
          <a:extLst/>
        </p:spPr>
        <p:txBody>
          <a:bodyPr wrap="square" lIns="0" tIns="0" rIns="0" bIns="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en-AU" sz="750" b="1" dirty="0"/>
              <a:t>P</a:t>
            </a:r>
          </a:p>
        </p:txBody>
      </p:sp>
      <p:sp>
        <p:nvSpPr>
          <p:cNvPr id="29" name="Rechteck 54"/>
          <p:cNvSpPr/>
          <p:nvPr/>
        </p:nvSpPr>
        <p:spPr bwMode="auto">
          <a:xfrm>
            <a:off x="2175456" y="3613096"/>
            <a:ext cx="134930" cy="134930"/>
          </a:xfrm>
          <a:prstGeom prst="rect">
            <a:avLst/>
          </a:prstGeom>
          <a:solidFill>
            <a:srgbClr val="AAB414"/>
          </a:solidFill>
          <a:ln w="9525">
            <a:solidFill>
              <a:srgbClr val="AAB414"/>
            </a:solidFill>
            <a:miter lim="800000"/>
            <a:headEnd/>
            <a:tailEnd/>
          </a:ln>
          <a:effectLst/>
          <a:extLst/>
        </p:spPr>
        <p:txBody>
          <a:bodyPr wrap="square" lIns="0" tIns="0" rIns="0" bIns="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en-AU" sz="750" b="1" dirty="0"/>
              <a:t>P</a:t>
            </a:r>
          </a:p>
        </p:txBody>
      </p:sp>
      <p:sp>
        <p:nvSpPr>
          <p:cNvPr id="30" name="Rechteck 56"/>
          <p:cNvSpPr/>
          <p:nvPr/>
        </p:nvSpPr>
        <p:spPr bwMode="auto">
          <a:xfrm>
            <a:off x="2736752" y="3819242"/>
            <a:ext cx="134930" cy="134930"/>
          </a:xfrm>
          <a:prstGeom prst="rect">
            <a:avLst/>
          </a:prstGeom>
          <a:solidFill>
            <a:srgbClr val="AAB414"/>
          </a:solidFill>
          <a:ln w="9525">
            <a:solidFill>
              <a:srgbClr val="AAB414"/>
            </a:solidFill>
            <a:miter lim="800000"/>
            <a:headEnd/>
            <a:tailEnd/>
          </a:ln>
          <a:effectLst/>
          <a:extLst/>
        </p:spPr>
        <p:txBody>
          <a:bodyPr wrap="square" lIns="0" tIns="0" rIns="0" bIns="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en-AU" sz="750" b="1" dirty="0"/>
              <a:t>P</a:t>
            </a:r>
          </a:p>
        </p:txBody>
      </p:sp>
      <p:sp>
        <p:nvSpPr>
          <p:cNvPr id="31" name="Rechteck 57"/>
          <p:cNvSpPr/>
          <p:nvPr/>
        </p:nvSpPr>
        <p:spPr bwMode="auto">
          <a:xfrm>
            <a:off x="2175456" y="4062142"/>
            <a:ext cx="134930" cy="134930"/>
          </a:xfrm>
          <a:prstGeom prst="rect">
            <a:avLst/>
          </a:prstGeom>
          <a:solidFill>
            <a:srgbClr val="AAB414"/>
          </a:solidFill>
          <a:ln w="9525">
            <a:solidFill>
              <a:srgbClr val="AAB414"/>
            </a:solidFill>
            <a:miter lim="800000"/>
            <a:headEnd/>
            <a:tailEnd/>
          </a:ln>
          <a:effectLst/>
          <a:extLst/>
        </p:spPr>
        <p:txBody>
          <a:bodyPr wrap="square" lIns="0" tIns="0" rIns="0" bIns="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en-AU" sz="750" b="1" dirty="0"/>
              <a:t>P</a:t>
            </a:r>
          </a:p>
        </p:txBody>
      </p:sp>
      <p:grpSp>
        <p:nvGrpSpPr>
          <p:cNvPr id="32" name="Gruppieren 30"/>
          <p:cNvGrpSpPr/>
          <p:nvPr/>
        </p:nvGrpSpPr>
        <p:grpSpPr>
          <a:xfrm>
            <a:off x="2911459" y="3748620"/>
            <a:ext cx="446039" cy="276174"/>
            <a:chOff x="4135994" y="5609739"/>
            <a:chExt cx="595029" cy="368424"/>
          </a:xfrm>
        </p:grpSpPr>
        <p:sp>
          <p:nvSpPr>
            <p:cNvPr id="33" name="Rechteck 86"/>
            <p:cNvSpPr/>
            <p:nvPr/>
          </p:nvSpPr>
          <p:spPr bwMode="auto">
            <a:xfrm>
              <a:off x="4135994" y="5609739"/>
              <a:ext cx="595029" cy="368424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accent1"/>
              </a:solidFill>
              <a:miter lim="800000"/>
              <a:headEnd/>
              <a:tailEnd type="triangle"/>
            </a:ln>
            <a:effectLst/>
            <a:extLst/>
          </p:spPr>
          <p:txBody>
            <a:bodyPr vert="horz" wrap="square" lIns="26986" tIns="26986" rIns="26986" bIns="26986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AU" sz="750" dirty="0">
                <a:solidFill>
                  <a:srgbClr val="000000"/>
                </a:solidFill>
                <a:latin typeface="Arial" charset="0"/>
                <a:ea typeface="ヒラギノ角ゴ Pro W3" charset="0"/>
              </a:endParaRPr>
            </a:p>
          </p:txBody>
        </p:sp>
        <p:sp>
          <p:nvSpPr>
            <p:cNvPr id="34" name="Freeform 9"/>
            <p:cNvSpPr>
              <a:spLocks noEditPoints="1"/>
            </p:cNvSpPr>
            <p:nvPr/>
          </p:nvSpPr>
          <p:spPr bwMode="gray">
            <a:xfrm>
              <a:off x="4289493" y="5664812"/>
              <a:ext cx="288031" cy="258279"/>
            </a:xfrm>
            <a:custGeom>
              <a:avLst/>
              <a:gdLst>
                <a:gd name="T0" fmla="*/ 691 w 1432"/>
                <a:gd name="T1" fmla="*/ 399 h 1034"/>
                <a:gd name="T2" fmla="*/ 463 w 1432"/>
                <a:gd name="T3" fmla="*/ 399 h 1034"/>
                <a:gd name="T4" fmla="*/ 442 w 1432"/>
                <a:gd name="T5" fmla="*/ 506 h 1034"/>
                <a:gd name="T6" fmla="*/ 691 w 1432"/>
                <a:gd name="T7" fmla="*/ 506 h 1034"/>
                <a:gd name="T8" fmla="*/ 691 w 1432"/>
                <a:gd name="T9" fmla="*/ 399 h 1034"/>
                <a:gd name="T10" fmla="*/ 413 w 1432"/>
                <a:gd name="T11" fmla="*/ 399 h 1034"/>
                <a:gd name="T12" fmla="*/ 185 w 1432"/>
                <a:gd name="T13" fmla="*/ 399 h 1034"/>
                <a:gd name="T14" fmla="*/ 150 w 1432"/>
                <a:gd name="T15" fmla="*/ 506 h 1034"/>
                <a:gd name="T16" fmla="*/ 399 w 1432"/>
                <a:gd name="T17" fmla="*/ 506 h 1034"/>
                <a:gd name="T18" fmla="*/ 413 w 1432"/>
                <a:gd name="T19" fmla="*/ 399 h 1034"/>
                <a:gd name="T20" fmla="*/ 691 w 1432"/>
                <a:gd name="T21" fmla="*/ 235 h 1034"/>
                <a:gd name="T22" fmla="*/ 492 w 1432"/>
                <a:gd name="T23" fmla="*/ 235 h 1034"/>
                <a:gd name="T24" fmla="*/ 470 w 1432"/>
                <a:gd name="T25" fmla="*/ 349 h 1034"/>
                <a:gd name="T26" fmla="*/ 691 w 1432"/>
                <a:gd name="T27" fmla="*/ 349 h 1034"/>
                <a:gd name="T28" fmla="*/ 691 w 1432"/>
                <a:gd name="T29" fmla="*/ 235 h 1034"/>
                <a:gd name="T30" fmla="*/ 442 w 1432"/>
                <a:gd name="T31" fmla="*/ 235 h 1034"/>
                <a:gd name="T32" fmla="*/ 249 w 1432"/>
                <a:gd name="T33" fmla="*/ 235 h 1034"/>
                <a:gd name="T34" fmla="*/ 207 w 1432"/>
                <a:gd name="T35" fmla="*/ 349 h 1034"/>
                <a:gd name="T36" fmla="*/ 427 w 1432"/>
                <a:gd name="T37" fmla="*/ 349 h 1034"/>
                <a:gd name="T38" fmla="*/ 442 w 1432"/>
                <a:gd name="T39" fmla="*/ 235 h 1034"/>
                <a:gd name="T40" fmla="*/ 734 w 1432"/>
                <a:gd name="T41" fmla="*/ 399 h 1034"/>
                <a:gd name="T42" fmla="*/ 969 w 1432"/>
                <a:gd name="T43" fmla="*/ 399 h 1034"/>
                <a:gd name="T44" fmla="*/ 983 w 1432"/>
                <a:gd name="T45" fmla="*/ 506 h 1034"/>
                <a:gd name="T46" fmla="*/ 734 w 1432"/>
                <a:gd name="T47" fmla="*/ 506 h 1034"/>
                <a:gd name="T48" fmla="*/ 734 w 1432"/>
                <a:gd name="T49" fmla="*/ 399 h 1034"/>
                <a:gd name="T50" fmla="*/ 1012 w 1432"/>
                <a:gd name="T51" fmla="*/ 399 h 1034"/>
                <a:gd name="T52" fmla="*/ 1240 w 1432"/>
                <a:gd name="T53" fmla="*/ 399 h 1034"/>
                <a:gd name="T54" fmla="*/ 1282 w 1432"/>
                <a:gd name="T55" fmla="*/ 506 h 1034"/>
                <a:gd name="T56" fmla="*/ 1033 w 1432"/>
                <a:gd name="T57" fmla="*/ 506 h 1034"/>
                <a:gd name="T58" fmla="*/ 1012 w 1432"/>
                <a:gd name="T59" fmla="*/ 399 h 1034"/>
                <a:gd name="T60" fmla="*/ 734 w 1432"/>
                <a:gd name="T61" fmla="*/ 235 h 1034"/>
                <a:gd name="T62" fmla="*/ 940 w 1432"/>
                <a:gd name="T63" fmla="*/ 235 h 1034"/>
                <a:gd name="T64" fmla="*/ 955 w 1432"/>
                <a:gd name="T65" fmla="*/ 349 h 1034"/>
                <a:gd name="T66" fmla="*/ 734 w 1432"/>
                <a:gd name="T67" fmla="*/ 349 h 1034"/>
                <a:gd name="T68" fmla="*/ 734 w 1432"/>
                <a:gd name="T69" fmla="*/ 235 h 1034"/>
                <a:gd name="T70" fmla="*/ 983 w 1432"/>
                <a:gd name="T71" fmla="*/ 235 h 1034"/>
                <a:gd name="T72" fmla="*/ 1183 w 1432"/>
                <a:gd name="T73" fmla="*/ 235 h 1034"/>
                <a:gd name="T74" fmla="*/ 1225 w 1432"/>
                <a:gd name="T75" fmla="*/ 349 h 1034"/>
                <a:gd name="T76" fmla="*/ 1005 w 1432"/>
                <a:gd name="T77" fmla="*/ 349 h 1034"/>
                <a:gd name="T78" fmla="*/ 983 w 1432"/>
                <a:gd name="T79" fmla="*/ 235 h 1034"/>
                <a:gd name="T80" fmla="*/ 1254 w 1432"/>
                <a:gd name="T81" fmla="*/ 171 h 1034"/>
                <a:gd name="T82" fmla="*/ 506 w 1432"/>
                <a:gd name="T83" fmla="*/ 171 h 1034"/>
                <a:gd name="T84" fmla="*/ 506 w 1432"/>
                <a:gd name="T85" fmla="*/ 0 h 1034"/>
                <a:gd name="T86" fmla="*/ 356 w 1432"/>
                <a:gd name="T87" fmla="*/ 0 h 1034"/>
                <a:gd name="T88" fmla="*/ 356 w 1432"/>
                <a:gd name="T89" fmla="*/ 171 h 1034"/>
                <a:gd name="T90" fmla="*/ 178 w 1432"/>
                <a:gd name="T91" fmla="*/ 171 h 1034"/>
                <a:gd name="T92" fmla="*/ 0 w 1432"/>
                <a:gd name="T93" fmla="*/ 599 h 1034"/>
                <a:gd name="T94" fmla="*/ 178 w 1432"/>
                <a:gd name="T95" fmla="*/ 599 h 1034"/>
                <a:gd name="T96" fmla="*/ 178 w 1432"/>
                <a:gd name="T97" fmla="*/ 1034 h 1034"/>
                <a:gd name="T98" fmla="*/ 1254 w 1432"/>
                <a:gd name="T99" fmla="*/ 1034 h 1034"/>
                <a:gd name="T100" fmla="*/ 1254 w 1432"/>
                <a:gd name="T101" fmla="*/ 599 h 1034"/>
                <a:gd name="T102" fmla="*/ 1432 w 1432"/>
                <a:gd name="T103" fmla="*/ 599 h 1034"/>
                <a:gd name="T104" fmla="*/ 1254 w 1432"/>
                <a:gd name="T105" fmla="*/ 171 h 10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432" h="1034">
                  <a:moveTo>
                    <a:pt x="691" y="399"/>
                  </a:moveTo>
                  <a:lnTo>
                    <a:pt x="463" y="399"/>
                  </a:lnTo>
                  <a:lnTo>
                    <a:pt x="442" y="506"/>
                  </a:lnTo>
                  <a:lnTo>
                    <a:pt x="691" y="506"/>
                  </a:lnTo>
                  <a:lnTo>
                    <a:pt x="691" y="399"/>
                  </a:lnTo>
                  <a:close/>
                  <a:moveTo>
                    <a:pt x="413" y="399"/>
                  </a:moveTo>
                  <a:lnTo>
                    <a:pt x="185" y="399"/>
                  </a:lnTo>
                  <a:lnTo>
                    <a:pt x="150" y="506"/>
                  </a:lnTo>
                  <a:lnTo>
                    <a:pt x="399" y="506"/>
                  </a:lnTo>
                  <a:lnTo>
                    <a:pt x="413" y="399"/>
                  </a:lnTo>
                  <a:close/>
                  <a:moveTo>
                    <a:pt x="691" y="235"/>
                  </a:moveTo>
                  <a:lnTo>
                    <a:pt x="492" y="235"/>
                  </a:lnTo>
                  <a:lnTo>
                    <a:pt x="470" y="349"/>
                  </a:lnTo>
                  <a:lnTo>
                    <a:pt x="691" y="349"/>
                  </a:lnTo>
                  <a:lnTo>
                    <a:pt x="691" y="235"/>
                  </a:lnTo>
                  <a:close/>
                  <a:moveTo>
                    <a:pt x="442" y="235"/>
                  </a:moveTo>
                  <a:lnTo>
                    <a:pt x="249" y="235"/>
                  </a:lnTo>
                  <a:lnTo>
                    <a:pt x="207" y="349"/>
                  </a:lnTo>
                  <a:lnTo>
                    <a:pt x="427" y="349"/>
                  </a:lnTo>
                  <a:lnTo>
                    <a:pt x="442" y="235"/>
                  </a:lnTo>
                  <a:close/>
                  <a:moveTo>
                    <a:pt x="734" y="399"/>
                  </a:moveTo>
                  <a:lnTo>
                    <a:pt x="969" y="399"/>
                  </a:lnTo>
                  <a:lnTo>
                    <a:pt x="983" y="506"/>
                  </a:lnTo>
                  <a:lnTo>
                    <a:pt x="734" y="506"/>
                  </a:lnTo>
                  <a:lnTo>
                    <a:pt x="734" y="399"/>
                  </a:lnTo>
                  <a:close/>
                  <a:moveTo>
                    <a:pt x="1012" y="399"/>
                  </a:moveTo>
                  <a:lnTo>
                    <a:pt x="1240" y="399"/>
                  </a:lnTo>
                  <a:lnTo>
                    <a:pt x="1282" y="506"/>
                  </a:lnTo>
                  <a:lnTo>
                    <a:pt x="1033" y="506"/>
                  </a:lnTo>
                  <a:lnTo>
                    <a:pt x="1012" y="399"/>
                  </a:lnTo>
                  <a:close/>
                  <a:moveTo>
                    <a:pt x="734" y="235"/>
                  </a:moveTo>
                  <a:lnTo>
                    <a:pt x="940" y="235"/>
                  </a:lnTo>
                  <a:lnTo>
                    <a:pt x="955" y="349"/>
                  </a:lnTo>
                  <a:lnTo>
                    <a:pt x="734" y="349"/>
                  </a:lnTo>
                  <a:lnTo>
                    <a:pt x="734" y="235"/>
                  </a:lnTo>
                  <a:close/>
                  <a:moveTo>
                    <a:pt x="983" y="235"/>
                  </a:moveTo>
                  <a:lnTo>
                    <a:pt x="1183" y="235"/>
                  </a:lnTo>
                  <a:lnTo>
                    <a:pt x="1225" y="349"/>
                  </a:lnTo>
                  <a:lnTo>
                    <a:pt x="1005" y="349"/>
                  </a:lnTo>
                  <a:lnTo>
                    <a:pt x="983" y="235"/>
                  </a:lnTo>
                  <a:close/>
                  <a:moveTo>
                    <a:pt x="1254" y="171"/>
                  </a:moveTo>
                  <a:lnTo>
                    <a:pt x="506" y="171"/>
                  </a:lnTo>
                  <a:lnTo>
                    <a:pt x="506" y="0"/>
                  </a:lnTo>
                  <a:lnTo>
                    <a:pt x="356" y="0"/>
                  </a:lnTo>
                  <a:lnTo>
                    <a:pt x="356" y="171"/>
                  </a:lnTo>
                  <a:lnTo>
                    <a:pt x="178" y="171"/>
                  </a:lnTo>
                  <a:lnTo>
                    <a:pt x="0" y="599"/>
                  </a:lnTo>
                  <a:lnTo>
                    <a:pt x="178" y="599"/>
                  </a:lnTo>
                  <a:lnTo>
                    <a:pt x="178" y="1034"/>
                  </a:lnTo>
                  <a:lnTo>
                    <a:pt x="1254" y="1034"/>
                  </a:lnTo>
                  <a:lnTo>
                    <a:pt x="1254" y="599"/>
                  </a:lnTo>
                  <a:lnTo>
                    <a:pt x="1432" y="599"/>
                  </a:lnTo>
                  <a:lnTo>
                    <a:pt x="1254" y="171"/>
                  </a:lnTo>
                  <a:close/>
                </a:path>
              </a:pathLst>
            </a:custGeom>
            <a:solidFill>
              <a:srgbClr val="505A64"/>
            </a:solidFill>
            <a:ln>
              <a:noFill/>
            </a:ln>
            <a:extLst/>
          </p:spPr>
          <p:txBody>
            <a:bodyPr vert="horz" wrap="square" lIns="68544" tIns="34272" rIns="68544" bIns="34272" numCol="1" anchor="t" anchorCtr="0" compatLnSpc="1">
              <a:prstTxWarp prst="textNoShape">
                <a:avLst/>
              </a:prstTxWarp>
            </a:bodyPr>
            <a:lstStyle/>
            <a:p>
              <a:endParaRPr lang="en-AU" sz="1349" dirty="0"/>
            </a:p>
          </p:txBody>
        </p:sp>
      </p:grpSp>
      <p:grpSp>
        <p:nvGrpSpPr>
          <p:cNvPr id="35" name="Gruppieren 31"/>
          <p:cNvGrpSpPr/>
          <p:nvPr/>
        </p:nvGrpSpPr>
        <p:grpSpPr>
          <a:xfrm>
            <a:off x="1675403" y="3991520"/>
            <a:ext cx="446039" cy="276174"/>
            <a:chOff x="2515815" y="5249391"/>
            <a:chExt cx="595029" cy="368424"/>
          </a:xfrm>
        </p:grpSpPr>
        <p:sp>
          <p:nvSpPr>
            <p:cNvPr id="36" name="Rechteck 92"/>
            <p:cNvSpPr/>
            <p:nvPr/>
          </p:nvSpPr>
          <p:spPr bwMode="auto">
            <a:xfrm>
              <a:off x="2515815" y="5249391"/>
              <a:ext cx="595029" cy="368424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accent1"/>
              </a:solidFill>
              <a:miter lim="800000"/>
              <a:headEnd/>
              <a:tailEnd type="triangle"/>
            </a:ln>
            <a:effectLst/>
            <a:extLst/>
          </p:spPr>
          <p:txBody>
            <a:bodyPr vert="horz" wrap="square" lIns="26986" tIns="26986" rIns="26986" bIns="26986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AU" sz="750" dirty="0">
                <a:solidFill>
                  <a:srgbClr val="000000"/>
                </a:solidFill>
                <a:latin typeface="Arial" charset="0"/>
                <a:ea typeface="ヒラギノ角ゴ Pro W3" charset="0"/>
              </a:endParaRPr>
            </a:p>
          </p:txBody>
        </p:sp>
        <p:sp>
          <p:nvSpPr>
            <p:cNvPr id="37" name="Freeform 9"/>
            <p:cNvSpPr>
              <a:spLocks noEditPoints="1"/>
            </p:cNvSpPr>
            <p:nvPr/>
          </p:nvSpPr>
          <p:spPr bwMode="gray">
            <a:xfrm>
              <a:off x="2669314" y="5304463"/>
              <a:ext cx="288031" cy="258279"/>
            </a:xfrm>
            <a:custGeom>
              <a:avLst/>
              <a:gdLst>
                <a:gd name="T0" fmla="*/ 691 w 1432"/>
                <a:gd name="T1" fmla="*/ 399 h 1034"/>
                <a:gd name="T2" fmla="*/ 463 w 1432"/>
                <a:gd name="T3" fmla="*/ 399 h 1034"/>
                <a:gd name="T4" fmla="*/ 442 w 1432"/>
                <a:gd name="T5" fmla="*/ 506 h 1034"/>
                <a:gd name="T6" fmla="*/ 691 w 1432"/>
                <a:gd name="T7" fmla="*/ 506 h 1034"/>
                <a:gd name="T8" fmla="*/ 691 w 1432"/>
                <a:gd name="T9" fmla="*/ 399 h 1034"/>
                <a:gd name="T10" fmla="*/ 413 w 1432"/>
                <a:gd name="T11" fmla="*/ 399 h 1034"/>
                <a:gd name="T12" fmla="*/ 185 w 1432"/>
                <a:gd name="T13" fmla="*/ 399 h 1034"/>
                <a:gd name="T14" fmla="*/ 150 w 1432"/>
                <a:gd name="T15" fmla="*/ 506 h 1034"/>
                <a:gd name="T16" fmla="*/ 399 w 1432"/>
                <a:gd name="T17" fmla="*/ 506 h 1034"/>
                <a:gd name="T18" fmla="*/ 413 w 1432"/>
                <a:gd name="T19" fmla="*/ 399 h 1034"/>
                <a:gd name="T20" fmla="*/ 691 w 1432"/>
                <a:gd name="T21" fmla="*/ 235 h 1034"/>
                <a:gd name="T22" fmla="*/ 492 w 1432"/>
                <a:gd name="T23" fmla="*/ 235 h 1034"/>
                <a:gd name="T24" fmla="*/ 470 w 1432"/>
                <a:gd name="T25" fmla="*/ 349 h 1034"/>
                <a:gd name="T26" fmla="*/ 691 w 1432"/>
                <a:gd name="T27" fmla="*/ 349 h 1034"/>
                <a:gd name="T28" fmla="*/ 691 w 1432"/>
                <a:gd name="T29" fmla="*/ 235 h 1034"/>
                <a:gd name="T30" fmla="*/ 442 w 1432"/>
                <a:gd name="T31" fmla="*/ 235 h 1034"/>
                <a:gd name="T32" fmla="*/ 249 w 1432"/>
                <a:gd name="T33" fmla="*/ 235 h 1034"/>
                <a:gd name="T34" fmla="*/ 207 w 1432"/>
                <a:gd name="T35" fmla="*/ 349 h 1034"/>
                <a:gd name="T36" fmla="*/ 427 w 1432"/>
                <a:gd name="T37" fmla="*/ 349 h 1034"/>
                <a:gd name="T38" fmla="*/ 442 w 1432"/>
                <a:gd name="T39" fmla="*/ 235 h 1034"/>
                <a:gd name="T40" fmla="*/ 734 w 1432"/>
                <a:gd name="T41" fmla="*/ 399 h 1034"/>
                <a:gd name="T42" fmla="*/ 969 w 1432"/>
                <a:gd name="T43" fmla="*/ 399 h 1034"/>
                <a:gd name="T44" fmla="*/ 983 w 1432"/>
                <a:gd name="T45" fmla="*/ 506 h 1034"/>
                <a:gd name="T46" fmla="*/ 734 w 1432"/>
                <a:gd name="T47" fmla="*/ 506 h 1034"/>
                <a:gd name="T48" fmla="*/ 734 w 1432"/>
                <a:gd name="T49" fmla="*/ 399 h 1034"/>
                <a:gd name="T50" fmla="*/ 1012 w 1432"/>
                <a:gd name="T51" fmla="*/ 399 h 1034"/>
                <a:gd name="T52" fmla="*/ 1240 w 1432"/>
                <a:gd name="T53" fmla="*/ 399 h 1034"/>
                <a:gd name="T54" fmla="*/ 1282 w 1432"/>
                <a:gd name="T55" fmla="*/ 506 h 1034"/>
                <a:gd name="T56" fmla="*/ 1033 w 1432"/>
                <a:gd name="T57" fmla="*/ 506 h 1034"/>
                <a:gd name="T58" fmla="*/ 1012 w 1432"/>
                <a:gd name="T59" fmla="*/ 399 h 1034"/>
                <a:gd name="T60" fmla="*/ 734 w 1432"/>
                <a:gd name="T61" fmla="*/ 235 h 1034"/>
                <a:gd name="T62" fmla="*/ 940 w 1432"/>
                <a:gd name="T63" fmla="*/ 235 h 1034"/>
                <a:gd name="T64" fmla="*/ 955 w 1432"/>
                <a:gd name="T65" fmla="*/ 349 h 1034"/>
                <a:gd name="T66" fmla="*/ 734 w 1432"/>
                <a:gd name="T67" fmla="*/ 349 h 1034"/>
                <a:gd name="T68" fmla="*/ 734 w 1432"/>
                <a:gd name="T69" fmla="*/ 235 h 1034"/>
                <a:gd name="T70" fmla="*/ 983 w 1432"/>
                <a:gd name="T71" fmla="*/ 235 h 1034"/>
                <a:gd name="T72" fmla="*/ 1183 w 1432"/>
                <a:gd name="T73" fmla="*/ 235 h 1034"/>
                <a:gd name="T74" fmla="*/ 1225 w 1432"/>
                <a:gd name="T75" fmla="*/ 349 h 1034"/>
                <a:gd name="T76" fmla="*/ 1005 w 1432"/>
                <a:gd name="T77" fmla="*/ 349 h 1034"/>
                <a:gd name="T78" fmla="*/ 983 w 1432"/>
                <a:gd name="T79" fmla="*/ 235 h 1034"/>
                <a:gd name="T80" fmla="*/ 1254 w 1432"/>
                <a:gd name="T81" fmla="*/ 171 h 1034"/>
                <a:gd name="T82" fmla="*/ 506 w 1432"/>
                <a:gd name="T83" fmla="*/ 171 h 1034"/>
                <a:gd name="T84" fmla="*/ 506 w 1432"/>
                <a:gd name="T85" fmla="*/ 0 h 1034"/>
                <a:gd name="T86" fmla="*/ 356 w 1432"/>
                <a:gd name="T87" fmla="*/ 0 h 1034"/>
                <a:gd name="T88" fmla="*/ 356 w 1432"/>
                <a:gd name="T89" fmla="*/ 171 h 1034"/>
                <a:gd name="T90" fmla="*/ 178 w 1432"/>
                <a:gd name="T91" fmla="*/ 171 h 1034"/>
                <a:gd name="T92" fmla="*/ 0 w 1432"/>
                <a:gd name="T93" fmla="*/ 599 h 1034"/>
                <a:gd name="T94" fmla="*/ 178 w 1432"/>
                <a:gd name="T95" fmla="*/ 599 h 1034"/>
                <a:gd name="T96" fmla="*/ 178 w 1432"/>
                <a:gd name="T97" fmla="*/ 1034 h 1034"/>
                <a:gd name="T98" fmla="*/ 1254 w 1432"/>
                <a:gd name="T99" fmla="*/ 1034 h 1034"/>
                <a:gd name="T100" fmla="*/ 1254 w 1432"/>
                <a:gd name="T101" fmla="*/ 599 h 1034"/>
                <a:gd name="T102" fmla="*/ 1432 w 1432"/>
                <a:gd name="T103" fmla="*/ 599 h 1034"/>
                <a:gd name="T104" fmla="*/ 1254 w 1432"/>
                <a:gd name="T105" fmla="*/ 171 h 10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432" h="1034">
                  <a:moveTo>
                    <a:pt x="691" y="399"/>
                  </a:moveTo>
                  <a:lnTo>
                    <a:pt x="463" y="399"/>
                  </a:lnTo>
                  <a:lnTo>
                    <a:pt x="442" y="506"/>
                  </a:lnTo>
                  <a:lnTo>
                    <a:pt x="691" y="506"/>
                  </a:lnTo>
                  <a:lnTo>
                    <a:pt x="691" y="399"/>
                  </a:lnTo>
                  <a:close/>
                  <a:moveTo>
                    <a:pt x="413" y="399"/>
                  </a:moveTo>
                  <a:lnTo>
                    <a:pt x="185" y="399"/>
                  </a:lnTo>
                  <a:lnTo>
                    <a:pt x="150" y="506"/>
                  </a:lnTo>
                  <a:lnTo>
                    <a:pt x="399" y="506"/>
                  </a:lnTo>
                  <a:lnTo>
                    <a:pt x="413" y="399"/>
                  </a:lnTo>
                  <a:close/>
                  <a:moveTo>
                    <a:pt x="691" y="235"/>
                  </a:moveTo>
                  <a:lnTo>
                    <a:pt x="492" y="235"/>
                  </a:lnTo>
                  <a:lnTo>
                    <a:pt x="470" y="349"/>
                  </a:lnTo>
                  <a:lnTo>
                    <a:pt x="691" y="349"/>
                  </a:lnTo>
                  <a:lnTo>
                    <a:pt x="691" y="235"/>
                  </a:lnTo>
                  <a:close/>
                  <a:moveTo>
                    <a:pt x="442" y="235"/>
                  </a:moveTo>
                  <a:lnTo>
                    <a:pt x="249" y="235"/>
                  </a:lnTo>
                  <a:lnTo>
                    <a:pt x="207" y="349"/>
                  </a:lnTo>
                  <a:lnTo>
                    <a:pt x="427" y="349"/>
                  </a:lnTo>
                  <a:lnTo>
                    <a:pt x="442" y="235"/>
                  </a:lnTo>
                  <a:close/>
                  <a:moveTo>
                    <a:pt x="734" y="399"/>
                  </a:moveTo>
                  <a:lnTo>
                    <a:pt x="969" y="399"/>
                  </a:lnTo>
                  <a:lnTo>
                    <a:pt x="983" y="506"/>
                  </a:lnTo>
                  <a:lnTo>
                    <a:pt x="734" y="506"/>
                  </a:lnTo>
                  <a:lnTo>
                    <a:pt x="734" y="399"/>
                  </a:lnTo>
                  <a:close/>
                  <a:moveTo>
                    <a:pt x="1012" y="399"/>
                  </a:moveTo>
                  <a:lnTo>
                    <a:pt x="1240" y="399"/>
                  </a:lnTo>
                  <a:lnTo>
                    <a:pt x="1282" y="506"/>
                  </a:lnTo>
                  <a:lnTo>
                    <a:pt x="1033" y="506"/>
                  </a:lnTo>
                  <a:lnTo>
                    <a:pt x="1012" y="399"/>
                  </a:lnTo>
                  <a:close/>
                  <a:moveTo>
                    <a:pt x="734" y="235"/>
                  </a:moveTo>
                  <a:lnTo>
                    <a:pt x="940" y="235"/>
                  </a:lnTo>
                  <a:lnTo>
                    <a:pt x="955" y="349"/>
                  </a:lnTo>
                  <a:lnTo>
                    <a:pt x="734" y="349"/>
                  </a:lnTo>
                  <a:lnTo>
                    <a:pt x="734" y="235"/>
                  </a:lnTo>
                  <a:close/>
                  <a:moveTo>
                    <a:pt x="983" y="235"/>
                  </a:moveTo>
                  <a:lnTo>
                    <a:pt x="1183" y="235"/>
                  </a:lnTo>
                  <a:lnTo>
                    <a:pt x="1225" y="349"/>
                  </a:lnTo>
                  <a:lnTo>
                    <a:pt x="1005" y="349"/>
                  </a:lnTo>
                  <a:lnTo>
                    <a:pt x="983" y="235"/>
                  </a:lnTo>
                  <a:close/>
                  <a:moveTo>
                    <a:pt x="1254" y="171"/>
                  </a:moveTo>
                  <a:lnTo>
                    <a:pt x="506" y="171"/>
                  </a:lnTo>
                  <a:lnTo>
                    <a:pt x="506" y="0"/>
                  </a:lnTo>
                  <a:lnTo>
                    <a:pt x="356" y="0"/>
                  </a:lnTo>
                  <a:lnTo>
                    <a:pt x="356" y="171"/>
                  </a:lnTo>
                  <a:lnTo>
                    <a:pt x="178" y="171"/>
                  </a:lnTo>
                  <a:lnTo>
                    <a:pt x="0" y="599"/>
                  </a:lnTo>
                  <a:lnTo>
                    <a:pt x="178" y="599"/>
                  </a:lnTo>
                  <a:lnTo>
                    <a:pt x="178" y="1034"/>
                  </a:lnTo>
                  <a:lnTo>
                    <a:pt x="1254" y="1034"/>
                  </a:lnTo>
                  <a:lnTo>
                    <a:pt x="1254" y="599"/>
                  </a:lnTo>
                  <a:lnTo>
                    <a:pt x="1432" y="599"/>
                  </a:lnTo>
                  <a:lnTo>
                    <a:pt x="1254" y="171"/>
                  </a:lnTo>
                  <a:close/>
                </a:path>
              </a:pathLst>
            </a:custGeom>
            <a:solidFill>
              <a:srgbClr val="505A64"/>
            </a:solidFill>
            <a:ln>
              <a:noFill/>
            </a:ln>
            <a:extLst/>
          </p:spPr>
          <p:txBody>
            <a:bodyPr vert="horz" wrap="square" lIns="68544" tIns="34272" rIns="68544" bIns="34272" numCol="1" anchor="t" anchorCtr="0" compatLnSpc="1">
              <a:prstTxWarp prst="textNoShape">
                <a:avLst/>
              </a:prstTxWarp>
            </a:bodyPr>
            <a:lstStyle/>
            <a:p>
              <a:endParaRPr lang="en-AU" sz="1349" dirty="0"/>
            </a:p>
          </p:txBody>
        </p:sp>
      </p:grpSp>
      <p:grpSp>
        <p:nvGrpSpPr>
          <p:cNvPr id="38" name="Gruppieren 32"/>
          <p:cNvGrpSpPr/>
          <p:nvPr/>
        </p:nvGrpSpPr>
        <p:grpSpPr>
          <a:xfrm>
            <a:off x="1675403" y="3542474"/>
            <a:ext cx="446039" cy="276174"/>
            <a:chOff x="2515815" y="4554817"/>
            <a:chExt cx="595029" cy="368424"/>
          </a:xfrm>
        </p:grpSpPr>
        <p:sp>
          <p:nvSpPr>
            <p:cNvPr id="39" name="Rechteck 84"/>
            <p:cNvSpPr/>
            <p:nvPr/>
          </p:nvSpPr>
          <p:spPr bwMode="auto">
            <a:xfrm>
              <a:off x="2515815" y="4554817"/>
              <a:ext cx="595029" cy="368424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accent1"/>
              </a:solidFill>
              <a:miter lim="800000"/>
              <a:headEnd/>
              <a:tailEnd type="triangle"/>
            </a:ln>
            <a:effectLst/>
            <a:extLst/>
          </p:spPr>
          <p:txBody>
            <a:bodyPr vert="horz" wrap="square" lIns="26986" tIns="26986" rIns="26986" bIns="26986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AU" sz="750" dirty="0">
                <a:solidFill>
                  <a:srgbClr val="000000"/>
                </a:solidFill>
                <a:latin typeface="Arial" charset="0"/>
                <a:ea typeface="ヒラギノ角ゴ Pro W3" charset="0"/>
              </a:endParaRPr>
            </a:p>
          </p:txBody>
        </p:sp>
        <p:sp>
          <p:nvSpPr>
            <p:cNvPr id="40" name="Freeform 21"/>
            <p:cNvSpPr>
              <a:spLocks noEditPoints="1"/>
            </p:cNvSpPr>
            <p:nvPr/>
          </p:nvSpPr>
          <p:spPr bwMode="gray">
            <a:xfrm>
              <a:off x="2669314" y="4609889"/>
              <a:ext cx="288031" cy="258279"/>
            </a:xfrm>
            <a:custGeom>
              <a:avLst/>
              <a:gdLst>
                <a:gd name="T0" fmla="*/ 634 w 1311"/>
                <a:gd name="T1" fmla="*/ 707 h 943"/>
                <a:gd name="T2" fmla="*/ 299 w 1311"/>
                <a:gd name="T3" fmla="*/ 707 h 943"/>
                <a:gd name="T4" fmla="*/ 299 w 1311"/>
                <a:gd name="T5" fmla="*/ 557 h 943"/>
                <a:gd name="T6" fmla="*/ 634 w 1311"/>
                <a:gd name="T7" fmla="*/ 557 h 943"/>
                <a:gd name="T8" fmla="*/ 634 w 1311"/>
                <a:gd name="T9" fmla="*/ 707 h 943"/>
                <a:gd name="T10" fmla="*/ 1147 w 1311"/>
                <a:gd name="T11" fmla="*/ 157 h 943"/>
                <a:gd name="T12" fmla="*/ 470 w 1311"/>
                <a:gd name="T13" fmla="*/ 157 h 943"/>
                <a:gd name="T14" fmla="*/ 470 w 1311"/>
                <a:gd name="T15" fmla="*/ 0 h 943"/>
                <a:gd name="T16" fmla="*/ 328 w 1311"/>
                <a:gd name="T17" fmla="*/ 0 h 943"/>
                <a:gd name="T18" fmla="*/ 328 w 1311"/>
                <a:gd name="T19" fmla="*/ 157 h 943"/>
                <a:gd name="T20" fmla="*/ 164 w 1311"/>
                <a:gd name="T21" fmla="*/ 157 h 943"/>
                <a:gd name="T22" fmla="*/ 0 w 1311"/>
                <a:gd name="T23" fmla="*/ 550 h 943"/>
                <a:gd name="T24" fmla="*/ 164 w 1311"/>
                <a:gd name="T25" fmla="*/ 550 h 943"/>
                <a:gd name="T26" fmla="*/ 164 w 1311"/>
                <a:gd name="T27" fmla="*/ 943 h 943"/>
                <a:gd name="T28" fmla="*/ 1147 w 1311"/>
                <a:gd name="T29" fmla="*/ 943 h 943"/>
                <a:gd name="T30" fmla="*/ 1147 w 1311"/>
                <a:gd name="T31" fmla="*/ 550 h 943"/>
                <a:gd name="T32" fmla="*/ 1311 w 1311"/>
                <a:gd name="T33" fmla="*/ 550 h 943"/>
                <a:gd name="T34" fmla="*/ 1147 w 1311"/>
                <a:gd name="T35" fmla="*/ 157 h 943"/>
                <a:gd name="T36" fmla="*/ 784 w 1311"/>
                <a:gd name="T37" fmla="*/ 850 h 943"/>
                <a:gd name="T38" fmla="*/ 784 w 1311"/>
                <a:gd name="T39" fmla="*/ 557 h 943"/>
                <a:gd name="T40" fmla="*/ 983 w 1311"/>
                <a:gd name="T41" fmla="*/ 557 h 943"/>
                <a:gd name="T42" fmla="*/ 983 w 1311"/>
                <a:gd name="T43" fmla="*/ 850 h 943"/>
                <a:gd name="T44" fmla="*/ 784 w 1311"/>
                <a:gd name="T45" fmla="*/ 850 h 9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311" h="943">
                  <a:moveTo>
                    <a:pt x="634" y="707"/>
                  </a:moveTo>
                  <a:lnTo>
                    <a:pt x="299" y="707"/>
                  </a:lnTo>
                  <a:lnTo>
                    <a:pt x="299" y="557"/>
                  </a:lnTo>
                  <a:lnTo>
                    <a:pt x="634" y="557"/>
                  </a:lnTo>
                  <a:lnTo>
                    <a:pt x="634" y="707"/>
                  </a:lnTo>
                  <a:close/>
                  <a:moveTo>
                    <a:pt x="1147" y="157"/>
                  </a:moveTo>
                  <a:lnTo>
                    <a:pt x="470" y="157"/>
                  </a:lnTo>
                  <a:lnTo>
                    <a:pt x="470" y="0"/>
                  </a:lnTo>
                  <a:lnTo>
                    <a:pt x="328" y="0"/>
                  </a:lnTo>
                  <a:lnTo>
                    <a:pt x="328" y="157"/>
                  </a:lnTo>
                  <a:lnTo>
                    <a:pt x="164" y="157"/>
                  </a:lnTo>
                  <a:lnTo>
                    <a:pt x="0" y="550"/>
                  </a:lnTo>
                  <a:lnTo>
                    <a:pt x="164" y="550"/>
                  </a:lnTo>
                  <a:lnTo>
                    <a:pt x="164" y="943"/>
                  </a:lnTo>
                  <a:lnTo>
                    <a:pt x="1147" y="943"/>
                  </a:lnTo>
                  <a:lnTo>
                    <a:pt x="1147" y="550"/>
                  </a:lnTo>
                  <a:lnTo>
                    <a:pt x="1311" y="550"/>
                  </a:lnTo>
                  <a:lnTo>
                    <a:pt x="1147" y="157"/>
                  </a:lnTo>
                  <a:close/>
                  <a:moveTo>
                    <a:pt x="784" y="850"/>
                  </a:moveTo>
                  <a:lnTo>
                    <a:pt x="784" y="557"/>
                  </a:lnTo>
                  <a:lnTo>
                    <a:pt x="983" y="557"/>
                  </a:lnTo>
                  <a:lnTo>
                    <a:pt x="983" y="850"/>
                  </a:lnTo>
                  <a:lnTo>
                    <a:pt x="784" y="850"/>
                  </a:lnTo>
                  <a:close/>
                </a:path>
              </a:pathLst>
            </a:custGeom>
            <a:solidFill>
              <a:srgbClr val="505A64"/>
            </a:solidFill>
            <a:ln>
              <a:noFill/>
            </a:ln>
            <a:extLst/>
          </p:spPr>
          <p:txBody>
            <a:bodyPr vert="horz" wrap="square" lIns="68544" tIns="34272" rIns="68544" bIns="34272" numCol="1" anchor="t" anchorCtr="0" compatLnSpc="1">
              <a:prstTxWarp prst="textNoShape">
                <a:avLst/>
              </a:prstTxWarp>
            </a:bodyPr>
            <a:lstStyle/>
            <a:p>
              <a:pPr defTabSz="685434">
                <a:defRPr/>
              </a:pPr>
              <a:endParaRPr lang="en-AU" sz="1349" kern="0" dirty="0">
                <a:solidFill>
                  <a:sysClr val="windowText" lastClr="000000"/>
                </a:solidFill>
              </a:endParaRPr>
            </a:p>
          </p:txBody>
        </p:sp>
      </p:grpSp>
      <p:sp>
        <p:nvSpPr>
          <p:cNvPr id="41" name="Rechteck 65"/>
          <p:cNvSpPr/>
          <p:nvPr/>
        </p:nvSpPr>
        <p:spPr bwMode="auto">
          <a:xfrm>
            <a:off x="1001768" y="2584577"/>
            <a:ext cx="134930" cy="134930"/>
          </a:xfrm>
          <a:prstGeom prst="rect">
            <a:avLst/>
          </a:prstGeom>
          <a:solidFill>
            <a:srgbClr val="AAB414"/>
          </a:solidFill>
          <a:ln w="9525">
            <a:solidFill>
              <a:srgbClr val="AAB414"/>
            </a:solidFill>
            <a:miter lim="800000"/>
            <a:headEnd/>
            <a:tailEnd/>
          </a:ln>
          <a:effectLst/>
          <a:extLst/>
        </p:spPr>
        <p:txBody>
          <a:bodyPr wrap="square" lIns="0" tIns="0" rIns="0" bIns="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en-AU" sz="750" b="1" dirty="0"/>
              <a:t>P</a:t>
            </a:r>
          </a:p>
        </p:txBody>
      </p:sp>
      <p:grpSp>
        <p:nvGrpSpPr>
          <p:cNvPr id="42" name="Gruppieren 27"/>
          <p:cNvGrpSpPr/>
          <p:nvPr/>
        </p:nvGrpSpPr>
        <p:grpSpPr>
          <a:xfrm>
            <a:off x="1385993" y="2276658"/>
            <a:ext cx="446039" cy="276174"/>
            <a:chOff x="2119770" y="3140968"/>
            <a:chExt cx="595029" cy="368424"/>
          </a:xfrm>
        </p:grpSpPr>
        <p:sp>
          <p:nvSpPr>
            <p:cNvPr id="43" name="Rechteck 83"/>
            <p:cNvSpPr/>
            <p:nvPr/>
          </p:nvSpPr>
          <p:spPr bwMode="auto">
            <a:xfrm>
              <a:off x="2119770" y="3140968"/>
              <a:ext cx="595029" cy="368424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accent1"/>
              </a:solidFill>
              <a:miter lim="800000"/>
              <a:headEnd/>
              <a:tailEnd type="triangle"/>
            </a:ln>
            <a:effectLst/>
            <a:extLst/>
          </p:spPr>
          <p:txBody>
            <a:bodyPr vert="horz" wrap="square" lIns="26986" tIns="26986" rIns="26986" bIns="26986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AU" sz="750" dirty="0">
                <a:solidFill>
                  <a:srgbClr val="000000"/>
                </a:solidFill>
                <a:latin typeface="Arial" charset="0"/>
                <a:ea typeface="ヒラギノ角ゴ Pro W3" charset="0"/>
              </a:endParaRPr>
            </a:p>
          </p:txBody>
        </p:sp>
        <p:sp>
          <p:nvSpPr>
            <p:cNvPr id="44" name="Freeform 21"/>
            <p:cNvSpPr>
              <a:spLocks noEditPoints="1"/>
            </p:cNvSpPr>
            <p:nvPr/>
          </p:nvSpPr>
          <p:spPr bwMode="gray">
            <a:xfrm>
              <a:off x="2273269" y="3196040"/>
              <a:ext cx="288031" cy="258279"/>
            </a:xfrm>
            <a:custGeom>
              <a:avLst/>
              <a:gdLst>
                <a:gd name="T0" fmla="*/ 634 w 1311"/>
                <a:gd name="T1" fmla="*/ 707 h 943"/>
                <a:gd name="T2" fmla="*/ 299 w 1311"/>
                <a:gd name="T3" fmla="*/ 707 h 943"/>
                <a:gd name="T4" fmla="*/ 299 w 1311"/>
                <a:gd name="T5" fmla="*/ 557 h 943"/>
                <a:gd name="T6" fmla="*/ 634 w 1311"/>
                <a:gd name="T7" fmla="*/ 557 h 943"/>
                <a:gd name="T8" fmla="*/ 634 w 1311"/>
                <a:gd name="T9" fmla="*/ 707 h 943"/>
                <a:gd name="T10" fmla="*/ 1147 w 1311"/>
                <a:gd name="T11" fmla="*/ 157 h 943"/>
                <a:gd name="T12" fmla="*/ 470 w 1311"/>
                <a:gd name="T13" fmla="*/ 157 h 943"/>
                <a:gd name="T14" fmla="*/ 470 w 1311"/>
                <a:gd name="T15" fmla="*/ 0 h 943"/>
                <a:gd name="T16" fmla="*/ 328 w 1311"/>
                <a:gd name="T17" fmla="*/ 0 h 943"/>
                <a:gd name="T18" fmla="*/ 328 w 1311"/>
                <a:gd name="T19" fmla="*/ 157 h 943"/>
                <a:gd name="T20" fmla="*/ 164 w 1311"/>
                <a:gd name="T21" fmla="*/ 157 h 943"/>
                <a:gd name="T22" fmla="*/ 0 w 1311"/>
                <a:gd name="T23" fmla="*/ 550 h 943"/>
                <a:gd name="T24" fmla="*/ 164 w 1311"/>
                <a:gd name="T25" fmla="*/ 550 h 943"/>
                <a:gd name="T26" fmla="*/ 164 w 1311"/>
                <a:gd name="T27" fmla="*/ 943 h 943"/>
                <a:gd name="T28" fmla="*/ 1147 w 1311"/>
                <a:gd name="T29" fmla="*/ 943 h 943"/>
                <a:gd name="T30" fmla="*/ 1147 w 1311"/>
                <a:gd name="T31" fmla="*/ 550 h 943"/>
                <a:gd name="T32" fmla="*/ 1311 w 1311"/>
                <a:gd name="T33" fmla="*/ 550 h 943"/>
                <a:gd name="T34" fmla="*/ 1147 w 1311"/>
                <a:gd name="T35" fmla="*/ 157 h 943"/>
                <a:gd name="T36" fmla="*/ 784 w 1311"/>
                <a:gd name="T37" fmla="*/ 850 h 943"/>
                <a:gd name="T38" fmla="*/ 784 w 1311"/>
                <a:gd name="T39" fmla="*/ 557 h 943"/>
                <a:gd name="T40" fmla="*/ 983 w 1311"/>
                <a:gd name="T41" fmla="*/ 557 h 943"/>
                <a:gd name="T42" fmla="*/ 983 w 1311"/>
                <a:gd name="T43" fmla="*/ 850 h 943"/>
                <a:gd name="T44" fmla="*/ 784 w 1311"/>
                <a:gd name="T45" fmla="*/ 850 h 9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311" h="943">
                  <a:moveTo>
                    <a:pt x="634" y="707"/>
                  </a:moveTo>
                  <a:lnTo>
                    <a:pt x="299" y="707"/>
                  </a:lnTo>
                  <a:lnTo>
                    <a:pt x="299" y="557"/>
                  </a:lnTo>
                  <a:lnTo>
                    <a:pt x="634" y="557"/>
                  </a:lnTo>
                  <a:lnTo>
                    <a:pt x="634" y="707"/>
                  </a:lnTo>
                  <a:close/>
                  <a:moveTo>
                    <a:pt x="1147" y="157"/>
                  </a:moveTo>
                  <a:lnTo>
                    <a:pt x="470" y="157"/>
                  </a:lnTo>
                  <a:lnTo>
                    <a:pt x="470" y="0"/>
                  </a:lnTo>
                  <a:lnTo>
                    <a:pt x="328" y="0"/>
                  </a:lnTo>
                  <a:lnTo>
                    <a:pt x="328" y="157"/>
                  </a:lnTo>
                  <a:lnTo>
                    <a:pt x="164" y="157"/>
                  </a:lnTo>
                  <a:lnTo>
                    <a:pt x="0" y="550"/>
                  </a:lnTo>
                  <a:lnTo>
                    <a:pt x="164" y="550"/>
                  </a:lnTo>
                  <a:lnTo>
                    <a:pt x="164" y="943"/>
                  </a:lnTo>
                  <a:lnTo>
                    <a:pt x="1147" y="943"/>
                  </a:lnTo>
                  <a:lnTo>
                    <a:pt x="1147" y="550"/>
                  </a:lnTo>
                  <a:lnTo>
                    <a:pt x="1311" y="550"/>
                  </a:lnTo>
                  <a:lnTo>
                    <a:pt x="1147" y="157"/>
                  </a:lnTo>
                  <a:close/>
                  <a:moveTo>
                    <a:pt x="784" y="850"/>
                  </a:moveTo>
                  <a:lnTo>
                    <a:pt x="784" y="557"/>
                  </a:lnTo>
                  <a:lnTo>
                    <a:pt x="983" y="557"/>
                  </a:lnTo>
                  <a:lnTo>
                    <a:pt x="983" y="850"/>
                  </a:lnTo>
                  <a:lnTo>
                    <a:pt x="784" y="850"/>
                  </a:lnTo>
                  <a:close/>
                </a:path>
              </a:pathLst>
            </a:custGeom>
            <a:solidFill>
              <a:srgbClr val="505A64"/>
            </a:solidFill>
            <a:ln>
              <a:noFill/>
            </a:ln>
            <a:extLst/>
          </p:spPr>
          <p:txBody>
            <a:bodyPr vert="horz" wrap="square" lIns="68544" tIns="34272" rIns="68544" bIns="34272" numCol="1" anchor="t" anchorCtr="0" compatLnSpc="1">
              <a:prstTxWarp prst="textNoShape">
                <a:avLst/>
              </a:prstTxWarp>
            </a:bodyPr>
            <a:lstStyle/>
            <a:p>
              <a:pPr defTabSz="685434">
                <a:defRPr/>
              </a:pPr>
              <a:endParaRPr lang="en-AU" sz="1349" kern="0" dirty="0">
                <a:solidFill>
                  <a:sysClr val="windowText" lastClr="000000"/>
                </a:solidFill>
              </a:endParaRPr>
            </a:p>
          </p:txBody>
        </p:sp>
      </p:grpSp>
      <p:sp>
        <p:nvSpPr>
          <p:cNvPr id="45" name="Rechteck 71"/>
          <p:cNvSpPr/>
          <p:nvPr/>
        </p:nvSpPr>
        <p:spPr bwMode="auto">
          <a:xfrm>
            <a:off x="1298647" y="3020597"/>
            <a:ext cx="134930" cy="134930"/>
          </a:xfrm>
          <a:prstGeom prst="rect">
            <a:avLst/>
          </a:prstGeom>
          <a:solidFill>
            <a:srgbClr val="AAB414"/>
          </a:solidFill>
          <a:ln w="9525">
            <a:solidFill>
              <a:srgbClr val="AAB414"/>
            </a:solidFill>
            <a:miter lim="800000"/>
            <a:headEnd/>
            <a:tailEnd/>
          </a:ln>
          <a:effectLst/>
          <a:extLst/>
        </p:spPr>
        <p:txBody>
          <a:bodyPr wrap="square" lIns="0" tIns="0" rIns="0" bIns="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en-AU" sz="750" b="1" dirty="0"/>
              <a:t>P</a:t>
            </a:r>
          </a:p>
        </p:txBody>
      </p:sp>
      <p:sp>
        <p:nvSpPr>
          <p:cNvPr id="46" name="Rechteck 72"/>
          <p:cNvSpPr/>
          <p:nvPr/>
        </p:nvSpPr>
        <p:spPr bwMode="auto">
          <a:xfrm>
            <a:off x="718392" y="3005359"/>
            <a:ext cx="134930" cy="134930"/>
          </a:xfrm>
          <a:prstGeom prst="rect">
            <a:avLst/>
          </a:prstGeom>
          <a:solidFill>
            <a:srgbClr val="AAB414"/>
          </a:solidFill>
          <a:ln w="9525">
            <a:solidFill>
              <a:srgbClr val="AAB414"/>
            </a:solidFill>
            <a:miter lim="800000"/>
            <a:headEnd/>
            <a:tailEnd/>
          </a:ln>
          <a:effectLst/>
          <a:extLst/>
        </p:spPr>
        <p:txBody>
          <a:bodyPr wrap="square" lIns="0" tIns="0" rIns="0" bIns="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en-AU" sz="750" b="1" dirty="0"/>
              <a:t>P</a:t>
            </a:r>
          </a:p>
        </p:txBody>
      </p:sp>
      <p:grpSp>
        <p:nvGrpSpPr>
          <p:cNvPr id="47" name="Gruppieren 34"/>
          <p:cNvGrpSpPr/>
          <p:nvPr/>
        </p:nvGrpSpPr>
        <p:grpSpPr>
          <a:xfrm>
            <a:off x="1136699" y="3203475"/>
            <a:ext cx="446039" cy="276174"/>
            <a:chOff x="1787205" y="4377367"/>
            <a:chExt cx="595029" cy="368424"/>
          </a:xfrm>
        </p:grpSpPr>
        <p:sp>
          <p:nvSpPr>
            <p:cNvPr id="48" name="Rechteck 90"/>
            <p:cNvSpPr/>
            <p:nvPr/>
          </p:nvSpPr>
          <p:spPr bwMode="auto">
            <a:xfrm>
              <a:off x="1787205" y="4377367"/>
              <a:ext cx="595029" cy="368424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accent1"/>
              </a:solidFill>
              <a:miter lim="800000"/>
              <a:headEnd/>
              <a:tailEnd type="triangle"/>
            </a:ln>
            <a:effectLst/>
            <a:extLst/>
          </p:spPr>
          <p:txBody>
            <a:bodyPr vert="horz" wrap="square" lIns="26986" tIns="26986" rIns="26986" bIns="26986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AU" sz="750" dirty="0">
                <a:solidFill>
                  <a:srgbClr val="000000"/>
                </a:solidFill>
                <a:latin typeface="Arial" charset="0"/>
                <a:ea typeface="ヒラギノ角ゴ Pro W3" charset="0"/>
              </a:endParaRPr>
            </a:p>
          </p:txBody>
        </p:sp>
        <p:sp>
          <p:nvSpPr>
            <p:cNvPr id="49" name="Freeform 9"/>
            <p:cNvSpPr>
              <a:spLocks noEditPoints="1"/>
            </p:cNvSpPr>
            <p:nvPr/>
          </p:nvSpPr>
          <p:spPr bwMode="gray">
            <a:xfrm>
              <a:off x="1940720" y="4435579"/>
              <a:ext cx="288000" cy="252000"/>
            </a:xfrm>
            <a:custGeom>
              <a:avLst/>
              <a:gdLst>
                <a:gd name="T0" fmla="*/ 1019 w 1226"/>
                <a:gd name="T1" fmla="*/ 622 h 922"/>
                <a:gd name="T2" fmla="*/ 1019 w 1226"/>
                <a:gd name="T3" fmla="*/ 672 h 922"/>
                <a:gd name="T4" fmla="*/ 805 w 1226"/>
                <a:gd name="T5" fmla="*/ 672 h 922"/>
                <a:gd name="T6" fmla="*/ 805 w 1226"/>
                <a:gd name="T7" fmla="*/ 622 h 922"/>
                <a:gd name="T8" fmla="*/ 1019 w 1226"/>
                <a:gd name="T9" fmla="*/ 622 h 922"/>
                <a:gd name="T10" fmla="*/ 1033 w 1226"/>
                <a:gd name="T11" fmla="*/ 172 h 922"/>
                <a:gd name="T12" fmla="*/ 1033 w 1226"/>
                <a:gd name="T13" fmla="*/ 86 h 922"/>
                <a:gd name="T14" fmla="*/ 948 w 1226"/>
                <a:gd name="T15" fmla="*/ 86 h 922"/>
                <a:gd name="T16" fmla="*/ 948 w 1226"/>
                <a:gd name="T17" fmla="*/ 0 h 922"/>
                <a:gd name="T18" fmla="*/ 884 w 1226"/>
                <a:gd name="T19" fmla="*/ 0 h 922"/>
                <a:gd name="T20" fmla="*/ 884 w 1226"/>
                <a:gd name="T21" fmla="*/ 86 h 922"/>
                <a:gd name="T22" fmla="*/ 798 w 1226"/>
                <a:gd name="T23" fmla="*/ 86 h 922"/>
                <a:gd name="T24" fmla="*/ 798 w 1226"/>
                <a:gd name="T25" fmla="*/ 172 h 922"/>
                <a:gd name="T26" fmla="*/ 435 w 1226"/>
                <a:gd name="T27" fmla="*/ 172 h 922"/>
                <a:gd name="T28" fmla="*/ 435 w 1226"/>
                <a:gd name="T29" fmla="*/ 86 h 922"/>
                <a:gd name="T30" fmla="*/ 349 w 1226"/>
                <a:gd name="T31" fmla="*/ 86 h 922"/>
                <a:gd name="T32" fmla="*/ 349 w 1226"/>
                <a:gd name="T33" fmla="*/ 0 h 922"/>
                <a:gd name="T34" fmla="*/ 278 w 1226"/>
                <a:gd name="T35" fmla="*/ 0 h 922"/>
                <a:gd name="T36" fmla="*/ 278 w 1226"/>
                <a:gd name="T37" fmla="*/ 86 h 922"/>
                <a:gd name="T38" fmla="*/ 192 w 1226"/>
                <a:gd name="T39" fmla="*/ 86 h 922"/>
                <a:gd name="T40" fmla="*/ 192 w 1226"/>
                <a:gd name="T41" fmla="*/ 172 h 922"/>
                <a:gd name="T42" fmla="*/ 0 w 1226"/>
                <a:gd name="T43" fmla="*/ 172 h 922"/>
                <a:gd name="T44" fmla="*/ 0 w 1226"/>
                <a:gd name="T45" fmla="*/ 922 h 922"/>
                <a:gd name="T46" fmla="*/ 1226 w 1226"/>
                <a:gd name="T47" fmla="*/ 922 h 922"/>
                <a:gd name="T48" fmla="*/ 1226 w 1226"/>
                <a:gd name="T49" fmla="*/ 172 h 922"/>
                <a:gd name="T50" fmla="*/ 1033 w 1226"/>
                <a:gd name="T51" fmla="*/ 172 h 922"/>
                <a:gd name="T52" fmla="*/ 1169 w 1226"/>
                <a:gd name="T53" fmla="*/ 865 h 922"/>
                <a:gd name="T54" fmla="*/ 64 w 1226"/>
                <a:gd name="T55" fmla="*/ 865 h 922"/>
                <a:gd name="T56" fmla="*/ 64 w 1226"/>
                <a:gd name="T57" fmla="*/ 364 h 922"/>
                <a:gd name="T58" fmla="*/ 1169 w 1226"/>
                <a:gd name="T59" fmla="*/ 364 h 922"/>
                <a:gd name="T60" fmla="*/ 1169 w 1226"/>
                <a:gd name="T61" fmla="*/ 865 h 922"/>
                <a:gd name="T62" fmla="*/ 292 w 1226"/>
                <a:gd name="T63" fmla="*/ 543 h 922"/>
                <a:gd name="T64" fmla="*/ 335 w 1226"/>
                <a:gd name="T65" fmla="*/ 543 h 922"/>
                <a:gd name="T66" fmla="*/ 335 w 1226"/>
                <a:gd name="T67" fmla="*/ 622 h 922"/>
                <a:gd name="T68" fmla="*/ 420 w 1226"/>
                <a:gd name="T69" fmla="*/ 622 h 922"/>
                <a:gd name="T70" fmla="*/ 420 w 1226"/>
                <a:gd name="T71" fmla="*/ 672 h 922"/>
                <a:gd name="T72" fmla="*/ 335 w 1226"/>
                <a:gd name="T73" fmla="*/ 672 h 922"/>
                <a:gd name="T74" fmla="*/ 335 w 1226"/>
                <a:gd name="T75" fmla="*/ 750 h 922"/>
                <a:gd name="T76" fmla="*/ 292 w 1226"/>
                <a:gd name="T77" fmla="*/ 750 h 922"/>
                <a:gd name="T78" fmla="*/ 292 w 1226"/>
                <a:gd name="T79" fmla="*/ 672 h 922"/>
                <a:gd name="T80" fmla="*/ 207 w 1226"/>
                <a:gd name="T81" fmla="*/ 672 h 922"/>
                <a:gd name="T82" fmla="*/ 207 w 1226"/>
                <a:gd name="T83" fmla="*/ 622 h 922"/>
                <a:gd name="T84" fmla="*/ 292 w 1226"/>
                <a:gd name="T85" fmla="*/ 622 h 922"/>
                <a:gd name="T86" fmla="*/ 292 w 1226"/>
                <a:gd name="T87" fmla="*/ 543 h 9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1226" h="922">
                  <a:moveTo>
                    <a:pt x="1019" y="622"/>
                  </a:moveTo>
                  <a:lnTo>
                    <a:pt x="1019" y="672"/>
                  </a:lnTo>
                  <a:lnTo>
                    <a:pt x="805" y="672"/>
                  </a:lnTo>
                  <a:lnTo>
                    <a:pt x="805" y="622"/>
                  </a:lnTo>
                  <a:lnTo>
                    <a:pt x="1019" y="622"/>
                  </a:lnTo>
                  <a:close/>
                  <a:moveTo>
                    <a:pt x="1033" y="172"/>
                  </a:moveTo>
                  <a:lnTo>
                    <a:pt x="1033" y="86"/>
                  </a:lnTo>
                  <a:lnTo>
                    <a:pt x="948" y="86"/>
                  </a:lnTo>
                  <a:lnTo>
                    <a:pt x="948" y="0"/>
                  </a:lnTo>
                  <a:lnTo>
                    <a:pt x="884" y="0"/>
                  </a:lnTo>
                  <a:lnTo>
                    <a:pt x="884" y="86"/>
                  </a:lnTo>
                  <a:lnTo>
                    <a:pt x="798" y="86"/>
                  </a:lnTo>
                  <a:lnTo>
                    <a:pt x="798" y="172"/>
                  </a:lnTo>
                  <a:lnTo>
                    <a:pt x="435" y="172"/>
                  </a:lnTo>
                  <a:lnTo>
                    <a:pt x="435" y="86"/>
                  </a:lnTo>
                  <a:lnTo>
                    <a:pt x="349" y="86"/>
                  </a:lnTo>
                  <a:lnTo>
                    <a:pt x="349" y="0"/>
                  </a:lnTo>
                  <a:lnTo>
                    <a:pt x="278" y="0"/>
                  </a:lnTo>
                  <a:lnTo>
                    <a:pt x="278" y="86"/>
                  </a:lnTo>
                  <a:lnTo>
                    <a:pt x="192" y="86"/>
                  </a:lnTo>
                  <a:lnTo>
                    <a:pt x="192" y="172"/>
                  </a:lnTo>
                  <a:lnTo>
                    <a:pt x="0" y="172"/>
                  </a:lnTo>
                  <a:lnTo>
                    <a:pt x="0" y="922"/>
                  </a:lnTo>
                  <a:lnTo>
                    <a:pt x="1226" y="922"/>
                  </a:lnTo>
                  <a:lnTo>
                    <a:pt x="1226" y="172"/>
                  </a:lnTo>
                  <a:lnTo>
                    <a:pt x="1033" y="172"/>
                  </a:lnTo>
                  <a:close/>
                  <a:moveTo>
                    <a:pt x="1169" y="865"/>
                  </a:moveTo>
                  <a:lnTo>
                    <a:pt x="64" y="865"/>
                  </a:lnTo>
                  <a:lnTo>
                    <a:pt x="64" y="364"/>
                  </a:lnTo>
                  <a:lnTo>
                    <a:pt x="1169" y="364"/>
                  </a:lnTo>
                  <a:lnTo>
                    <a:pt x="1169" y="865"/>
                  </a:lnTo>
                  <a:close/>
                  <a:moveTo>
                    <a:pt x="292" y="543"/>
                  </a:moveTo>
                  <a:lnTo>
                    <a:pt x="335" y="543"/>
                  </a:lnTo>
                  <a:lnTo>
                    <a:pt x="335" y="622"/>
                  </a:lnTo>
                  <a:lnTo>
                    <a:pt x="420" y="622"/>
                  </a:lnTo>
                  <a:lnTo>
                    <a:pt x="420" y="672"/>
                  </a:lnTo>
                  <a:lnTo>
                    <a:pt x="335" y="672"/>
                  </a:lnTo>
                  <a:lnTo>
                    <a:pt x="335" y="750"/>
                  </a:lnTo>
                  <a:lnTo>
                    <a:pt x="292" y="750"/>
                  </a:lnTo>
                  <a:lnTo>
                    <a:pt x="292" y="672"/>
                  </a:lnTo>
                  <a:lnTo>
                    <a:pt x="207" y="672"/>
                  </a:lnTo>
                  <a:lnTo>
                    <a:pt x="207" y="622"/>
                  </a:lnTo>
                  <a:lnTo>
                    <a:pt x="292" y="622"/>
                  </a:lnTo>
                  <a:lnTo>
                    <a:pt x="292" y="543"/>
                  </a:lnTo>
                  <a:close/>
                </a:path>
              </a:pathLst>
            </a:custGeom>
            <a:solidFill>
              <a:srgbClr val="505A64"/>
            </a:solidFill>
            <a:ln>
              <a:noFill/>
            </a:ln>
          </p:spPr>
          <p:txBody>
            <a:bodyPr vert="horz" wrap="square" lIns="68544" tIns="34272" rIns="68544" bIns="34272" numCol="1" anchor="t" anchorCtr="0" compatLnSpc="1">
              <a:prstTxWarp prst="textNoShape">
                <a:avLst/>
              </a:prstTxWarp>
            </a:bodyPr>
            <a:lstStyle/>
            <a:p>
              <a:endParaRPr lang="en-AU" sz="1349" dirty="0"/>
            </a:p>
          </p:txBody>
        </p:sp>
      </p:grpSp>
      <p:sp>
        <p:nvSpPr>
          <p:cNvPr id="50" name="Rechteck 88"/>
          <p:cNvSpPr/>
          <p:nvPr/>
        </p:nvSpPr>
        <p:spPr bwMode="auto">
          <a:xfrm>
            <a:off x="2434462" y="2397373"/>
            <a:ext cx="175840" cy="161255"/>
          </a:xfrm>
          <a:prstGeom prst="rect">
            <a:avLst/>
          </a:prstGeom>
          <a:solidFill>
            <a:srgbClr val="AAB414"/>
          </a:solidFill>
          <a:ln w="9525">
            <a:solidFill>
              <a:srgbClr val="AAB414"/>
            </a:solidFill>
            <a:miter lim="800000"/>
            <a:headEnd/>
            <a:tailEnd/>
          </a:ln>
          <a:effectLst/>
          <a:extLst/>
        </p:spPr>
        <p:txBody>
          <a:bodyPr wrap="square" lIns="0" tIns="0" rIns="0" bIns="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en-AU" sz="750" b="1" dirty="0"/>
              <a:t>TM</a:t>
            </a:r>
          </a:p>
        </p:txBody>
      </p:sp>
      <p:sp>
        <p:nvSpPr>
          <p:cNvPr id="51" name="Wolke 89"/>
          <p:cNvSpPr/>
          <p:nvPr/>
        </p:nvSpPr>
        <p:spPr bwMode="auto">
          <a:xfrm>
            <a:off x="3003562" y="2296425"/>
            <a:ext cx="1472352" cy="1143058"/>
          </a:xfrm>
          <a:prstGeom prst="cloud">
            <a:avLst/>
          </a:prstGeom>
          <a:solidFill>
            <a:srgbClr val="FFFFFF"/>
          </a:solidFill>
          <a:ln w="9525">
            <a:solidFill>
              <a:schemeClr val="accent1"/>
            </a:solidFill>
            <a:miter lim="800000"/>
            <a:headEnd type="none" w="med" len="med"/>
            <a:tailEnd type="none" w="med" len="med"/>
          </a:ln>
          <a:effectLst/>
          <a:extLst/>
        </p:spPr>
        <p:txBody>
          <a:bodyPr vert="horz" wrap="square" lIns="53972" tIns="53972" rIns="53972" bIns="53972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685434" fontAlgn="base">
              <a:spcBef>
                <a:spcPct val="50000"/>
              </a:spcBef>
              <a:spcAft>
                <a:spcPct val="0"/>
              </a:spcAft>
            </a:pPr>
            <a:r>
              <a:rPr lang="en-AU" sz="900" b="1" dirty="0" err="1" smtClean="0">
                <a:solidFill>
                  <a:srgbClr val="000000"/>
                </a:solidFill>
                <a:latin typeface="Arial" charset="0"/>
                <a:ea typeface="ヒラギノ角ゴ Pro W3" charset="0"/>
              </a:rPr>
              <a:t>PETra</a:t>
            </a:r>
            <a:endParaRPr lang="en-AU" sz="900" b="1" dirty="0">
              <a:solidFill>
                <a:srgbClr val="000000"/>
              </a:solidFill>
              <a:latin typeface="Arial" charset="0"/>
              <a:ea typeface="ヒラギノ角ゴ Pro W3" charset="0"/>
            </a:endParaRPr>
          </a:p>
        </p:txBody>
      </p:sp>
      <p:grpSp>
        <p:nvGrpSpPr>
          <p:cNvPr id="52" name="Gruppieren 26"/>
          <p:cNvGrpSpPr/>
          <p:nvPr/>
        </p:nvGrpSpPr>
        <p:grpSpPr>
          <a:xfrm>
            <a:off x="853322" y="2282454"/>
            <a:ext cx="446039" cy="276174"/>
            <a:chOff x="1409173" y="3148700"/>
            <a:chExt cx="595029" cy="368424"/>
          </a:xfrm>
        </p:grpSpPr>
        <p:sp>
          <p:nvSpPr>
            <p:cNvPr id="53" name="Rechteck 70"/>
            <p:cNvSpPr/>
            <p:nvPr/>
          </p:nvSpPr>
          <p:spPr bwMode="auto">
            <a:xfrm>
              <a:off x="1409173" y="3148700"/>
              <a:ext cx="595029" cy="368424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accent1"/>
              </a:solidFill>
              <a:miter lim="800000"/>
              <a:headEnd/>
              <a:tailEnd type="triangle"/>
            </a:ln>
            <a:effectLst/>
            <a:extLst/>
          </p:spPr>
          <p:txBody>
            <a:bodyPr vert="horz" wrap="square" lIns="26986" tIns="26986" rIns="26986" bIns="26986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AU" sz="750" dirty="0">
                <a:solidFill>
                  <a:srgbClr val="000000"/>
                </a:solidFill>
                <a:latin typeface="Arial" charset="0"/>
                <a:ea typeface="ヒラギノ角ゴ Pro W3" charset="0"/>
              </a:endParaRPr>
            </a:p>
          </p:txBody>
        </p:sp>
        <p:sp>
          <p:nvSpPr>
            <p:cNvPr id="54" name="Freeform 9"/>
            <p:cNvSpPr>
              <a:spLocks noEditPoints="1"/>
            </p:cNvSpPr>
            <p:nvPr/>
          </p:nvSpPr>
          <p:spPr bwMode="gray">
            <a:xfrm>
              <a:off x="1562672" y="3203772"/>
              <a:ext cx="288031" cy="258279"/>
            </a:xfrm>
            <a:custGeom>
              <a:avLst/>
              <a:gdLst>
                <a:gd name="T0" fmla="*/ 691 w 1432"/>
                <a:gd name="T1" fmla="*/ 399 h 1034"/>
                <a:gd name="T2" fmla="*/ 463 w 1432"/>
                <a:gd name="T3" fmla="*/ 399 h 1034"/>
                <a:gd name="T4" fmla="*/ 442 w 1432"/>
                <a:gd name="T5" fmla="*/ 506 h 1034"/>
                <a:gd name="T6" fmla="*/ 691 w 1432"/>
                <a:gd name="T7" fmla="*/ 506 h 1034"/>
                <a:gd name="T8" fmla="*/ 691 w 1432"/>
                <a:gd name="T9" fmla="*/ 399 h 1034"/>
                <a:gd name="T10" fmla="*/ 413 w 1432"/>
                <a:gd name="T11" fmla="*/ 399 h 1034"/>
                <a:gd name="T12" fmla="*/ 185 w 1432"/>
                <a:gd name="T13" fmla="*/ 399 h 1034"/>
                <a:gd name="T14" fmla="*/ 150 w 1432"/>
                <a:gd name="T15" fmla="*/ 506 h 1034"/>
                <a:gd name="T16" fmla="*/ 399 w 1432"/>
                <a:gd name="T17" fmla="*/ 506 h 1034"/>
                <a:gd name="T18" fmla="*/ 413 w 1432"/>
                <a:gd name="T19" fmla="*/ 399 h 1034"/>
                <a:gd name="T20" fmla="*/ 691 w 1432"/>
                <a:gd name="T21" fmla="*/ 235 h 1034"/>
                <a:gd name="T22" fmla="*/ 492 w 1432"/>
                <a:gd name="T23" fmla="*/ 235 h 1034"/>
                <a:gd name="T24" fmla="*/ 470 w 1432"/>
                <a:gd name="T25" fmla="*/ 349 h 1034"/>
                <a:gd name="T26" fmla="*/ 691 w 1432"/>
                <a:gd name="T27" fmla="*/ 349 h 1034"/>
                <a:gd name="T28" fmla="*/ 691 w 1432"/>
                <a:gd name="T29" fmla="*/ 235 h 1034"/>
                <a:gd name="T30" fmla="*/ 442 w 1432"/>
                <a:gd name="T31" fmla="*/ 235 h 1034"/>
                <a:gd name="T32" fmla="*/ 249 w 1432"/>
                <a:gd name="T33" fmla="*/ 235 h 1034"/>
                <a:gd name="T34" fmla="*/ 207 w 1432"/>
                <a:gd name="T35" fmla="*/ 349 h 1034"/>
                <a:gd name="T36" fmla="*/ 427 w 1432"/>
                <a:gd name="T37" fmla="*/ 349 h 1034"/>
                <a:gd name="T38" fmla="*/ 442 w 1432"/>
                <a:gd name="T39" fmla="*/ 235 h 1034"/>
                <a:gd name="T40" fmla="*/ 734 w 1432"/>
                <a:gd name="T41" fmla="*/ 399 h 1034"/>
                <a:gd name="T42" fmla="*/ 969 w 1432"/>
                <a:gd name="T43" fmla="*/ 399 h 1034"/>
                <a:gd name="T44" fmla="*/ 983 w 1432"/>
                <a:gd name="T45" fmla="*/ 506 h 1034"/>
                <a:gd name="T46" fmla="*/ 734 w 1432"/>
                <a:gd name="T47" fmla="*/ 506 h 1034"/>
                <a:gd name="T48" fmla="*/ 734 w 1432"/>
                <a:gd name="T49" fmla="*/ 399 h 1034"/>
                <a:gd name="T50" fmla="*/ 1012 w 1432"/>
                <a:gd name="T51" fmla="*/ 399 h 1034"/>
                <a:gd name="T52" fmla="*/ 1240 w 1432"/>
                <a:gd name="T53" fmla="*/ 399 h 1034"/>
                <a:gd name="T54" fmla="*/ 1282 w 1432"/>
                <a:gd name="T55" fmla="*/ 506 h 1034"/>
                <a:gd name="T56" fmla="*/ 1033 w 1432"/>
                <a:gd name="T57" fmla="*/ 506 h 1034"/>
                <a:gd name="T58" fmla="*/ 1012 w 1432"/>
                <a:gd name="T59" fmla="*/ 399 h 1034"/>
                <a:gd name="T60" fmla="*/ 734 w 1432"/>
                <a:gd name="T61" fmla="*/ 235 h 1034"/>
                <a:gd name="T62" fmla="*/ 940 w 1432"/>
                <a:gd name="T63" fmla="*/ 235 h 1034"/>
                <a:gd name="T64" fmla="*/ 955 w 1432"/>
                <a:gd name="T65" fmla="*/ 349 h 1034"/>
                <a:gd name="T66" fmla="*/ 734 w 1432"/>
                <a:gd name="T67" fmla="*/ 349 h 1034"/>
                <a:gd name="T68" fmla="*/ 734 w 1432"/>
                <a:gd name="T69" fmla="*/ 235 h 1034"/>
                <a:gd name="T70" fmla="*/ 983 w 1432"/>
                <a:gd name="T71" fmla="*/ 235 h 1034"/>
                <a:gd name="T72" fmla="*/ 1183 w 1432"/>
                <a:gd name="T73" fmla="*/ 235 h 1034"/>
                <a:gd name="T74" fmla="*/ 1225 w 1432"/>
                <a:gd name="T75" fmla="*/ 349 h 1034"/>
                <a:gd name="T76" fmla="*/ 1005 w 1432"/>
                <a:gd name="T77" fmla="*/ 349 h 1034"/>
                <a:gd name="T78" fmla="*/ 983 w 1432"/>
                <a:gd name="T79" fmla="*/ 235 h 1034"/>
                <a:gd name="T80" fmla="*/ 1254 w 1432"/>
                <a:gd name="T81" fmla="*/ 171 h 1034"/>
                <a:gd name="T82" fmla="*/ 506 w 1432"/>
                <a:gd name="T83" fmla="*/ 171 h 1034"/>
                <a:gd name="T84" fmla="*/ 506 w 1432"/>
                <a:gd name="T85" fmla="*/ 0 h 1034"/>
                <a:gd name="T86" fmla="*/ 356 w 1432"/>
                <a:gd name="T87" fmla="*/ 0 h 1034"/>
                <a:gd name="T88" fmla="*/ 356 w 1432"/>
                <a:gd name="T89" fmla="*/ 171 h 1034"/>
                <a:gd name="T90" fmla="*/ 178 w 1432"/>
                <a:gd name="T91" fmla="*/ 171 h 1034"/>
                <a:gd name="T92" fmla="*/ 0 w 1432"/>
                <a:gd name="T93" fmla="*/ 599 h 1034"/>
                <a:gd name="T94" fmla="*/ 178 w 1432"/>
                <a:gd name="T95" fmla="*/ 599 h 1034"/>
                <a:gd name="T96" fmla="*/ 178 w 1432"/>
                <a:gd name="T97" fmla="*/ 1034 h 1034"/>
                <a:gd name="T98" fmla="*/ 1254 w 1432"/>
                <a:gd name="T99" fmla="*/ 1034 h 1034"/>
                <a:gd name="T100" fmla="*/ 1254 w 1432"/>
                <a:gd name="T101" fmla="*/ 599 h 1034"/>
                <a:gd name="T102" fmla="*/ 1432 w 1432"/>
                <a:gd name="T103" fmla="*/ 599 h 1034"/>
                <a:gd name="T104" fmla="*/ 1254 w 1432"/>
                <a:gd name="T105" fmla="*/ 171 h 10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432" h="1034">
                  <a:moveTo>
                    <a:pt x="691" y="399"/>
                  </a:moveTo>
                  <a:lnTo>
                    <a:pt x="463" y="399"/>
                  </a:lnTo>
                  <a:lnTo>
                    <a:pt x="442" y="506"/>
                  </a:lnTo>
                  <a:lnTo>
                    <a:pt x="691" y="506"/>
                  </a:lnTo>
                  <a:lnTo>
                    <a:pt x="691" y="399"/>
                  </a:lnTo>
                  <a:close/>
                  <a:moveTo>
                    <a:pt x="413" y="399"/>
                  </a:moveTo>
                  <a:lnTo>
                    <a:pt x="185" y="399"/>
                  </a:lnTo>
                  <a:lnTo>
                    <a:pt x="150" y="506"/>
                  </a:lnTo>
                  <a:lnTo>
                    <a:pt x="399" y="506"/>
                  </a:lnTo>
                  <a:lnTo>
                    <a:pt x="413" y="399"/>
                  </a:lnTo>
                  <a:close/>
                  <a:moveTo>
                    <a:pt x="691" y="235"/>
                  </a:moveTo>
                  <a:lnTo>
                    <a:pt x="492" y="235"/>
                  </a:lnTo>
                  <a:lnTo>
                    <a:pt x="470" y="349"/>
                  </a:lnTo>
                  <a:lnTo>
                    <a:pt x="691" y="349"/>
                  </a:lnTo>
                  <a:lnTo>
                    <a:pt x="691" y="235"/>
                  </a:lnTo>
                  <a:close/>
                  <a:moveTo>
                    <a:pt x="442" y="235"/>
                  </a:moveTo>
                  <a:lnTo>
                    <a:pt x="249" y="235"/>
                  </a:lnTo>
                  <a:lnTo>
                    <a:pt x="207" y="349"/>
                  </a:lnTo>
                  <a:lnTo>
                    <a:pt x="427" y="349"/>
                  </a:lnTo>
                  <a:lnTo>
                    <a:pt x="442" y="235"/>
                  </a:lnTo>
                  <a:close/>
                  <a:moveTo>
                    <a:pt x="734" y="399"/>
                  </a:moveTo>
                  <a:lnTo>
                    <a:pt x="969" y="399"/>
                  </a:lnTo>
                  <a:lnTo>
                    <a:pt x="983" y="506"/>
                  </a:lnTo>
                  <a:lnTo>
                    <a:pt x="734" y="506"/>
                  </a:lnTo>
                  <a:lnTo>
                    <a:pt x="734" y="399"/>
                  </a:lnTo>
                  <a:close/>
                  <a:moveTo>
                    <a:pt x="1012" y="399"/>
                  </a:moveTo>
                  <a:lnTo>
                    <a:pt x="1240" y="399"/>
                  </a:lnTo>
                  <a:lnTo>
                    <a:pt x="1282" y="506"/>
                  </a:lnTo>
                  <a:lnTo>
                    <a:pt x="1033" y="506"/>
                  </a:lnTo>
                  <a:lnTo>
                    <a:pt x="1012" y="399"/>
                  </a:lnTo>
                  <a:close/>
                  <a:moveTo>
                    <a:pt x="734" y="235"/>
                  </a:moveTo>
                  <a:lnTo>
                    <a:pt x="940" y="235"/>
                  </a:lnTo>
                  <a:lnTo>
                    <a:pt x="955" y="349"/>
                  </a:lnTo>
                  <a:lnTo>
                    <a:pt x="734" y="349"/>
                  </a:lnTo>
                  <a:lnTo>
                    <a:pt x="734" y="235"/>
                  </a:lnTo>
                  <a:close/>
                  <a:moveTo>
                    <a:pt x="983" y="235"/>
                  </a:moveTo>
                  <a:lnTo>
                    <a:pt x="1183" y="235"/>
                  </a:lnTo>
                  <a:lnTo>
                    <a:pt x="1225" y="349"/>
                  </a:lnTo>
                  <a:lnTo>
                    <a:pt x="1005" y="349"/>
                  </a:lnTo>
                  <a:lnTo>
                    <a:pt x="983" y="235"/>
                  </a:lnTo>
                  <a:close/>
                  <a:moveTo>
                    <a:pt x="1254" y="171"/>
                  </a:moveTo>
                  <a:lnTo>
                    <a:pt x="506" y="171"/>
                  </a:lnTo>
                  <a:lnTo>
                    <a:pt x="506" y="0"/>
                  </a:lnTo>
                  <a:lnTo>
                    <a:pt x="356" y="0"/>
                  </a:lnTo>
                  <a:lnTo>
                    <a:pt x="356" y="171"/>
                  </a:lnTo>
                  <a:lnTo>
                    <a:pt x="178" y="171"/>
                  </a:lnTo>
                  <a:lnTo>
                    <a:pt x="0" y="599"/>
                  </a:lnTo>
                  <a:lnTo>
                    <a:pt x="178" y="599"/>
                  </a:lnTo>
                  <a:lnTo>
                    <a:pt x="178" y="1034"/>
                  </a:lnTo>
                  <a:lnTo>
                    <a:pt x="1254" y="1034"/>
                  </a:lnTo>
                  <a:lnTo>
                    <a:pt x="1254" y="599"/>
                  </a:lnTo>
                  <a:lnTo>
                    <a:pt x="1432" y="599"/>
                  </a:lnTo>
                  <a:lnTo>
                    <a:pt x="1254" y="171"/>
                  </a:lnTo>
                  <a:close/>
                </a:path>
              </a:pathLst>
            </a:custGeom>
            <a:solidFill>
              <a:srgbClr val="505A64"/>
            </a:solidFill>
            <a:ln>
              <a:noFill/>
            </a:ln>
            <a:extLst/>
          </p:spPr>
          <p:txBody>
            <a:bodyPr vert="horz" wrap="square" lIns="68544" tIns="34272" rIns="68544" bIns="34272" numCol="1" anchor="t" anchorCtr="0" compatLnSpc="1">
              <a:prstTxWarp prst="textNoShape">
                <a:avLst/>
              </a:prstTxWarp>
            </a:bodyPr>
            <a:lstStyle/>
            <a:p>
              <a:endParaRPr lang="en-AU" sz="1349" dirty="0"/>
            </a:p>
          </p:txBody>
        </p:sp>
      </p:grpSp>
      <p:sp>
        <p:nvSpPr>
          <p:cNvPr id="55" name="Rechteck 61"/>
          <p:cNvSpPr/>
          <p:nvPr/>
        </p:nvSpPr>
        <p:spPr bwMode="auto">
          <a:xfrm>
            <a:off x="1528060" y="2573536"/>
            <a:ext cx="134930" cy="134930"/>
          </a:xfrm>
          <a:prstGeom prst="rect">
            <a:avLst/>
          </a:prstGeom>
          <a:solidFill>
            <a:srgbClr val="AAB414"/>
          </a:solidFill>
          <a:ln w="9525">
            <a:solidFill>
              <a:srgbClr val="AAB414"/>
            </a:solidFill>
            <a:miter lim="800000"/>
            <a:headEnd/>
            <a:tailEnd/>
          </a:ln>
          <a:effectLst/>
          <a:extLst/>
        </p:spPr>
        <p:txBody>
          <a:bodyPr wrap="square" lIns="0" tIns="0" rIns="0" bIns="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en-AU" sz="750" b="1" dirty="0"/>
              <a:t>P</a:t>
            </a:r>
          </a:p>
        </p:txBody>
      </p:sp>
      <p:sp>
        <p:nvSpPr>
          <p:cNvPr id="56" name="Ellipse 77"/>
          <p:cNvSpPr/>
          <p:nvPr/>
        </p:nvSpPr>
        <p:spPr bwMode="auto">
          <a:xfrm>
            <a:off x="550648" y="1568371"/>
            <a:ext cx="1156124" cy="486230"/>
          </a:xfrm>
          <a:prstGeom prst="ellipse">
            <a:avLst/>
          </a:prstGeom>
          <a:solidFill>
            <a:schemeClr val="bg1"/>
          </a:solidFill>
          <a:ln w="9525">
            <a:solidFill>
              <a:schemeClr val="accent1"/>
            </a:solidFill>
            <a:miter lim="800000"/>
            <a:headEnd/>
            <a:tailEnd type="triangle"/>
          </a:ln>
          <a:effectLst/>
          <a:extLst/>
        </p:spPr>
        <p:txBody>
          <a:bodyPr vert="horz" wrap="square" lIns="26986" tIns="26986" rIns="26986" bIns="26986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685434" fontAlgn="base">
              <a:spcBef>
                <a:spcPct val="50000"/>
              </a:spcBef>
              <a:spcAft>
                <a:spcPct val="0"/>
              </a:spcAft>
            </a:pPr>
            <a:r>
              <a:rPr lang="en-AU" sz="750" dirty="0">
                <a:solidFill>
                  <a:srgbClr val="000000"/>
                </a:solidFill>
                <a:latin typeface="Arial" charset="0"/>
                <a:ea typeface="ヒラギノ角ゴ Pro W3" charset="0"/>
              </a:rPr>
              <a:t>Conventional energy market</a:t>
            </a:r>
          </a:p>
        </p:txBody>
      </p:sp>
      <p:cxnSp>
        <p:nvCxnSpPr>
          <p:cNvPr id="57" name="Gerade Verbindung mit Pfeil 78"/>
          <p:cNvCxnSpPr>
            <a:endCxn id="59" idx="1"/>
          </p:cNvCxnSpPr>
          <p:nvPr/>
        </p:nvCxnSpPr>
        <p:spPr bwMode="auto">
          <a:xfrm>
            <a:off x="2148997" y="1817632"/>
            <a:ext cx="0" cy="0"/>
          </a:xfrm>
          <a:prstGeom prst="straightConnector1">
            <a:avLst/>
          </a:prstGeom>
          <a:solidFill>
            <a:schemeClr val="tx2"/>
          </a:solidFill>
          <a:ln w="9525" cap="flat" cmpd="sng" algn="ctr">
            <a:solidFill>
              <a:schemeClr val="accent1"/>
            </a:solidFill>
            <a:prstDash val="dash"/>
            <a:round/>
            <a:headEnd type="none" w="med" len="med"/>
            <a:tailEnd type="triangl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58" name="Textfeld 81"/>
          <p:cNvSpPr txBox="1"/>
          <p:nvPr/>
        </p:nvSpPr>
        <p:spPr>
          <a:xfrm>
            <a:off x="2585596" y="2097696"/>
            <a:ext cx="615553" cy="25391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en-AU" sz="750" dirty="0"/>
              <a:t>Energy demand</a:t>
            </a:r>
            <a:br>
              <a:rPr lang="en-AU" sz="750" dirty="0"/>
            </a:br>
            <a:r>
              <a:rPr lang="en-AU" sz="750" dirty="0"/>
              <a:t>and surplus.</a:t>
            </a:r>
          </a:p>
        </p:txBody>
      </p:sp>
      <p:sp>
        <p:nvSpPr>
          <p:cNvPr id="59" name="Rechteck 91"/>
          <p:cNvSpPr/>
          <p:nvPr/>
        </p:nvSpPr>
        <p:spPr bwMode="auto">
          <a:xfrm>
            <a:off x="2148998" y="1603897"/>
            <a:ext cx="880756" cy="42747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1"/>
            </a:solidFill>
            <a:miter lim="800000"/>
            <a:headEnd/>
            <a:tailEnd type="triangle"/>
          </a:ln>
          <a:effectLst/>
          <a:extLst/>
        </p:spPr>
        <p:txBody>
          <a:bodyPr vert="horz" wrap="square" lIns="26986" tIns="26986" rIns="26986" bIns="26986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AU" sz="750" dirty="0">
                <a:solidFill>
                  <a:srgbClr val="000000"/>
                </a:solidFill>
                <a:latin typeface="Arial" charset="0"/>
                <a:ea typeface="ヒラギノ角ゴ Pro W3" charset="0"/>
              </a:rPr>
              <a:t>Energy Retailer, or DSO</a:t>
            </a:r>
          </a:p>
        </p:txBody>
      </p:sp>
      <p:cxnSp>
        <p:nvCxnSpPr>
          <p:cNvPr id="60" name="Gerade Verbindung 94"/>
          <p:cNvCxnSpPr/>
          <p:nvPr/>
        </p:nvCxnSpPr>
        <p:spPr bwMode="auto">
          <a:xfrm flipV="1">
            <a:off x="2523317" y="2031367"/>
            <a:ext cx="0" cy="397808"/>
          </a:xfrm>
          <a:prstGeom prst="line">
            <a:avLst/>
          </a:prstGeom>
          <a:noFill/>
          <a:ln w="19050">
            <a:solidFill>
              <a:srgbClr val="50BED7"/>
            </a:solidFill>
            <a:miter lim="800000"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cxnSp>
        <p:nvCxnSpPr>
          <p:cNvPr id="61" name="Gerade Verbindung 95"/>
          <p:cNvCxnSpPr>
            <a:stCxn id="59" idx="1"/>
            <a:endCxn id="56" idx="6"/>
          </p:cNvCxnSpPr>
          <p:nvPr/>
        </p:nvCxnSpPr>
        <p:spPr bwMode="auto">
          <a:xfrm flipH="1" flipV="1">
            <a:off x="1706772" y="1811487"/>
            <a:ext cx="442225" cy="6146"/>
          </a:xfrm>
          <a:prstGeom prst="line">
            <a:avLst/>
          </a:prstGeom>
          <a:noFill/>
          <a:ln w="19050">
            <a:solidFill>
              <a:srgbClr val="50BED7"/>
            </a:solidFill>
            <a:miter lim="800000"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sp>
        <p:nvSpPr>
          <p:cNvPr id="62" name="Rechteck 88"/>
          <p:cNvSpPr/>
          <p:nvPr/>
        </p:nvSpPr>
        <p:spPr bwMode="auto">
          <a:xfrm>
            <a:off x="1958965" y="2798711"/>
            <a:ext cx="175840" cy="161255"/>
          </a:xfrm>
          <a:prstGeom prst="rect">
            <a:avLst/>
          </a:prstGeom>
          <a:solidFill>
            <a:srgbClr val="AAB414"/>
          </a:solidFill>
          <a:ln w="9525">
            <a:solidFill>
              <a:srgbClr val="AAB414"/>
            </a:solidFill>
            <a:miter lim="800000"/>
            <a:headEnd/>
            <a:tailEnd/>
          </a:ln>
          <a:effectLst/>
          <a:extLst/>
        </p:spPr>
        <p:txBody>
          <a:bodyPr wrap="square" lIns="0" tIns="0" rIns="0" bIns="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en-AU" sz="750" b="1" dirty="0"/>
              <a:t>TM</a:t>
            </a:r>
          </a:p>
        </p:txBody>
      </p:sp>
      <p:sp>
        <p:nvSpPr>
          <p:cNvPr id="63" name="Rechteck 88"/>
          <p:cNvSpPr/>
          <p:nvPr/>
        </p:nvSpPr>
        <p:spPr bwMode="auto">
          <a:xfrm>
            <a:off x="1518906" y="2568251"/>
            <a:ext cx="175840" cy="161255"/>
          </a:xfrm>
          <a:prstGeom prst="rect">
            <a:avLst/>
          </a:prstGeom>
          <a:solidFill>
            <a:srgbClr val="AAB414"/>
          </a:solidFill>
          <a:ln w="9525">
            <a:solidFill>
              <a:srgbClr val="AAB414"/>
            </a:solidFill>
            <a:miter lim="800000"/>
            <a:headEnd/>
            <a:tailEnd/>
          </a:ln>
          <a:effectLst/>
          <a:extLst/>
        </p:spPr>
        <p:txBody>
          <a:bodyPr wrap="square" lIns="0" tIns="0" rIns="0" bIns="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en-AU" sz="750" b="1" dirty="0"/>
              <a:t>TM</a:t>
            </a:r>
          </a:p>
        </p:txBody>
      </p:sp>
      <p:sp>
        <p:nvSpPr>
          <p:cNvPr id="64" name="Rechteck 88"/>
          <p:cNvSpPr/>
          <p:nvPr/>
        </p:nvSpPr>
        <p:spPr bwMode="auto">
          <a:xfrm>
            <a:off x="1283341" y="3015222"/>
            <a:ext cx="175840" cy="161255"/>
          </a:xfrm>
          <a:prstGeom prst="rect">
            <a:avLst/>
          </a:prstGeom>
          <a:solidFill>
            <a:srgbClr val="AAB414"/>
          </a:solidFill>
          <a:ln w="9525">
            <a:solidFill>
              <a:srgbClr val="AAB414"/>
            </a:solidFill>
            <a:miter lim="800000"/>
            <a:headEnd/>
            <a:tailEnd/>
          </a:ln>
          <a:effectLst/>
          <a:extLst/>
        </p:spPr>
        <p:txBody>
          <a:bodyPr wrap="square" lIns="0" tIns="0" rIns="0" bIns="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en-AU" sz="750" b="1" dirty="0"/>
              <a:t>TM</a:t>
            </a:r>
          </a:p>
        </p:txBody>
      </p:sp>
      <p:sp>
        <p:nvSpPr>
          <p:cNvPr id="65" name="Rechteck 88"/>
          <p:cNvSpPr/>
          <p:nvPr/>
        </p:nvSpPr>
        <p:spPr bwMode="auto">
          <a:xfrm>
            <a:off x="991185" y="2576777"/>
            <a:ext cx="175840" cy="161255"/>
          </a:xfrm>
          <a:prstGeom prst="rect">
            <a:avLst/>
          </a:prstGeom>
          <a:solidFill>
            <a:srgbClr val="AAB414"/>
          </a:solidFill>
          <a:ln w="9525">
            <a:solidFill>
              <a:srgbClr val="AAB414"/>
            </a:solidFill>
            <a:miter lim="800000"/>
            <a:headEnd/>
            <a:tailEnd/>
          </a:ln>
          <a:effectLst/>
          <a:extLst/>
        </p:spPr>
        <p:txBody>
          <a:bodyPr wrap="square" lIns="0" tIns="0" rIns="0" bIns="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en-AU" sz="750" b="1" dirty="0"/>
              <a:t>TM</a:t>
            </a:r>
          </a:p>
        </p:txBody>
      </p:sp>
      <p:sp>
        <p:nvSpPr>
          <p:cNvPr id="66" name="Rechteck 88"/>
          <p:cNvSpPr/>
          <p:nvPr/>
        </p:nvSpPr>
        <p:spPr bwMode="auto">
          <a:xfrm>
            <a:off x="718392" y="3003760"/>
            <a:ext cx="175840" cy="161255"/>
          </a:xfrm>
          <a:prstGeom prst="rect">
            <a:avLst/>
          </a:prstGeom>
          <a:solidFill>
            <a:srgbClr val="AAB414"/>
          </a:solidFill>
          <a:ln w="9525">
            <a:solidFill>
              <a:srgbClr val="AAB414"/>
            </a:solidFill>
            <a:miter lim="800000"/>
            <a:headEnd/>
            <a:tailEnd/>
          </a:ln>
          <a:effectLst/>
          <a:extLst/>
        </p:spPr>
        <p:txBody>
          <a:bodyPr wrap="square" lIns="0" tIns="0" rIns="0" bIns="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en-AU" sz="750" b="1" dirty="0"/>
              <a:t>TM</a:t>
            </a:r>
          </a:p>
        </p:txBody>
      </p:sp>
      <p:sp>
        <p:nvSpPr>
          <p:cNvPr id="67" name="Rechteck 88"/>
          <p:cNvSpPr/>
          <p:nvPr/>
        </p:nvSpPr>
        <p:spPr bwMode="auto">
          <a:xfrm>
            <a:off x="2418716" y="3235746"/>
            <a:ext cx="175840" cy="161255"/>
          </a:xfrm>
          <a:prstGeom prst="rect">
            <a:avLst/>
          </a:prstGeom>
          <a:solidFill>
            <a:srgbClr val="AAB414"/>
          </a:solidFill>
          <a:ln w="9525">
            <a:solidFill>
              <a:srgbClr val="AAB414"/>
            </a:solidFill>
            <a:miter lim="800000"/>
            <a:headEnd/>
            <a:tailEnd/>
          </a:ln>
          <a:effectLst/>
          <a:extLst/>
        </p:spPr>
        <p:txBody>
          <a:bodyPr wrap="square" lIns="0" tIns="0" rIns="0" bIns="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en-AU" sz="750" b="1" dirty="0"/>
              <a:t>TM</a:t>
            </a:r>
          </a:p>
        </p:txBody>
      </p:sp>
      <p:sp>
        <p:nvSpPr>
          <p:cNvPr id="68" name="Rechteck 88"/>
          <p:cNvSpPr/>
          <p:nvPr/>
        </p:nvSpPr>
        <p:spPr bwMode="auto">
          <a:xfrm>
            <a:off x="2161913" y="3599934"/>
            <a:ext cx="175840" cy="161255"/>
          </a:xfrm>
          <a:prstGeom prst="rect">
            <a:avLst/>
          </a:prstGeom>
          <a:solidFill>
            <a:srgbClr val="AAB414"/>
          </a:solidFill>
          <a:ln w="9525">
            <a:solidFill>
              <a:srgbClr val="AAB414"/>
            </a:solidFill>
            <a:miter lim="800000"/>
            <a:headEnd/>
            <a:tailEnd/>
          </a:ln>
          <a:effectLst/>
          <a:extLst/>
        </p:spPr>
        <p:txBody>
          <a:bodyPr wrap="square" lIns="0" tIns="0" rIns="0" bIns="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en-AU" sz="750" b="1" dirty="0"/>
              <a:t>TM</a:t>
            </a:r>
          </a:p>
        </p:txBody>
      </p:sp>
      <p:sp>
        <p:nvSpPr>
          <p:cNvPr id="69" name="Rechteck 88"/>
          <p:cNvSpPr/>
          <p:nvPr/>
        </p:nvSpPr>
        <p:spPr bwMode="auto">
          <a:xfrm>
            <a:off x="2715477" y="3806079"/>
            <a:ext cx="175840" cy="161255"/>
          </a:xfrm>
          <a:prstGeom prst="rect">
            <a:avLst/>
          </a:prstGeom>
          <a:solidFill>
            <a:srgbClr val="AAB414"/>
          </a:solidFill>
          <a:ln w="9525">
            <a:solidFill>
              <a:srgbClr val="AAB414"/>
            </a:solidFill>
            <a:miter lim="800000"/>
            <a:headEnd/>
            <a:tailEnd/>
          </a:ln>
          <a:effectLst/>
          <a:extLst/>
        </p:spPr>
        <p:txBody>
          <a:bodyPr wrap="square" lIns="0" tIns="0" rIns="0" bIns="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en-AU" sz="750" b="1" dirty="0"/>
              <a:t>TM</a:t>
            </a:r>
          </a:p>
        </p:txBody>
      </p:sp>
      <p:sp>
        <p:nvSpPr>
          <p:cNvPr id="70" name="Rechteck 88"/>
          <p:cNvSpPr/>
          <p:nvPr/>
        </p:nvSpPr>
        <p:spPr bwMode="auto">
          <a:xfrm>
            <a:off x="2155238" y="4044749"/>
            <a:ext cx="175840" cy="161255"/>
          </a:xfrm>
          <a:prstGeom prst="rect">
            <a:avLst/>
          </a:prstGeom>
          <a:solidFill>
            <a:srgbClr val="AAB414"/>
          </a:solidFill>
          <a:ln w="9525">
            <a:solidFill>
              <a:srgbClr val="AAB414"/>
            </a:solidFill>
            <a:miter lim="800000"/>
            <a:headEnd/>
            <a:tailEnd/>
          </a:ln>
          <a:effectLst/>
          <a:extLst/>
        </p:spPr>
        <p:txBody>
          <a:bodyPr wrap="square" lIns="0" tIns="0" rIns="0" bIns="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en-AU" sz="750" b="1" dirty="0"/>
              <a:t>TM</a:t>
            </a:r>
          </a:p>
        </p:txBody>
      </p:sp>
      <p:sp>
        <p:nvSpPr>
          <p:cNvPr id="74" name="Rechteck 17"/>
          <p:cNvSpPr/>
          <p:nvPr/>
        </p:nvSpPr>
        <p:spPr bwMode="auto">
          <a:xfrm>
            <a:off x="2580275" y="4678079"/>
            <a:ext cx="215888" cy="215888"/>
          </a:xfrm>
          <a:prstGeom prst="rect">
            <a:avLst/>
          </a:prstGeom>
          <a:solidFill>
            <a:srgbClr val="AAB414"/>
          </a:solidFill>
          <a:ln w="9525">
            <a:solidFill>
              <a:srgbClr val="AAB414"/>
            </a:solidFill>
            <a:miter lim="800000"/>
            <a:headEnd/>
            <a:tailEnd/>
          </a:ln>
          <a:effectLst/>
          <a:extLst/>
        </p:spPr>
        <p:txBody>
          <a:bodyPr wrap="square" lIns="0" tIns="0" rIns="0" bIns="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en-AU" sz="750" b="1" dirty="0"/>
              <a:t>TM</a:t>
            </a:r>
          </a:p>
        </p:txBody>
      </p:sp>
      <p:sp>
        <p:nvSpPr>
          <p:cNvPr id="75" name="Textfeld 18"/>
          <p:cNvSpPr txBox="1"/>
          <p:nvPr/>
        </p:nvSpPr>
        <p:spPr>
          <a:xfrm>
            <a:off x="2891317" y="4714731"/>
            <a:ext cx="854401" cy="15234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en-AU" sz="900" dirty="0" err="1"/>
              <a:t>Transactive</a:t>
            </a:r>
            <a:r>
              <a:rPr lang="en-AU" sz="900" dirty="0"/>
              <a:t> Meter</a:t>
            </a:r>
          </a:p>
        </p:txBody>
      </p:sp>
      <p:grpSp>
        <p:nvGrpSpPr>
          <p:cNvPr id="78" name="Group 77"/>
          <p:cNvGrpSpPr/>
          <p:nvPr/>
        </p:nvGrpSpPr>
        <p:grpSpPr>
          <a:xfrm>
            <a:off x="6910793" y="1541811"/>
            <a:ext cx="1601593" cy="1429786"/>
            <a:chOff x="8987978" y="2098744"/>
            <a:chExt cx="1992554" cy="1907374"/>
          </a:xfrm>
        </p:grpSpPr>
        <p:pic>
          <p:nvPicPr>
            <p:cNvPr id="71" name="Picture 2" descr="http://aronlaszka.com/portrait.png"/>
            <p:cNvPicPr>
              <a:picLocks noChangeAspect="1" noChangeArrowheads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987978" y="2098744"/>
              <a:ext cx="1647701" cy="165429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4" name="TextBox 3"/>
            <p:cNvSpPr txBox="1"/>
            <p:nvPr/>
          </p:nvSpPr>
          <p:spPr>
            <a:xfrm>
              <a:off x="9279143" y="3789040"/>
              <a:ext cx="1701389" cy="21707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>
                <a:lnSpc>
                  <a:spcPct val="110000"/>
                </a:lnSpc>
              </a:pPr>
              <a:r>
                <a:rPr lang="en-US" sz="900" dirty="0"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Prof. Aron Laszka</a:t>
              </a:r>
            </a:p>
          </p:txBody>
        </p:sp>
      </p:grpSp>
      <p:grpSp>
        <p:nvGrpSpPr>
          <p:cNvPr id="77" name="Group 76"/>
          <p:cNvGrpSpPr/>
          <p:nvPr/>
        </p:nvGrpSpPr>
        <p:grpSpPr>
          <a:xfrm>
            <a:off x="5270652" y="1411716"/>
            <a:ext cx="1305427" cy="1588288"/>
            <a:chOff x="7031196" y="1851294"/>
            <a:chExt cx="1741476" cy="2118820"/>
          </a:xfrm>
        </p:grpSpPr>
        <p:pic>
          <p:nvPicPr>
            <p:cNvPr id="72" name="Picture 4" descr="Image result for abhishek dubey"/>
            <p:cNvPicPr>
              <a:picLocks noChangeAspect="1" noChangeArrowheads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031196" y="1851294"/>
              <a:ext cx="1561424" cy="185028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76" name="TextBox 75"/>
            <p:cNvSpPr txBox="1"/>
            <p:nvPr/>
          </p:nvSpPr>
          <p:spPr>
            <a:xfrm>
              <a:off x="7071283" y="3753036"/>
              <a:ext cx="1701389" cy="21707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>
                <a:lnSpc>
                  <a:spcPct val="110000"/>
                </a:lnSpc>
              </a:pPr>
              <a:r>
                <a:rPr lang="en-US" sz="900" dirty="0"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Prof. Abhishek Dubey</a:t>
              </a:r>
            </a:p>
          </p:txBody>
        </p:sp>
      </p:grpSp>
      <p:grpSp>
        <p:nvGrpSpPr>
          <p:cNvPr id="80" name="Group 79"/>
          <p:cNvGrpSpPr/>
          <p:nvPr/>
        </p:nvGrpSpPr>
        <p:grpSpPr>
          <a:xfrm>
            <a:off x="5205396" y="3072824"/>
            <a:ext cx="1338880" cy="1573125"/>
            <a:chOff x="6944142" y="4067258"/>
            <a:chExt cx="1786103" cy="2098592"/>
          </a:xfrm>
        </p:grpSpPr>
        <p:pic>
          <p:nvPicPr>
            <p:cNvPr id="73" name="Picture 6" descr="Image result for douglas schmidt"/>
            <p:cNvPicPr>
              <a:picLocks noChangeAspect="1" noChangeArrowheads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012015" y="4067258"/>
              <a:ext cx="1523102" cy="186104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79" name="TextBox 78"/>
            <p:cNvSpPr txBox="1"/>
            <p:nvPr/>
          </p:nvSpPr>
          <p:spPr>
            <a:xfrm>
              <a:off x="6944142" y="5931100"/>
              <a:ext cx="1786103" cy="23475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>
                <a:lnSpc>
                  <a:spcPct val="110000"/>
                </a:lnSpc>
              </a:pPr>
              <a:r>
                <a:rPr lang="en-US" sz="900" dirty="0"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Prof. Douglas C. Schmidt</a:t>
              </a:r>
            </a:p>
          </p:txBody>
        </p:sp>
      </p:grpSp>
      <p:grpSp>
        <p:nvGrpSpPr>
          <p:cNvPr id="3" name="Group 2"/>
          <p:cNvGrpSpPr/>
          <p:nvPr/>
        </p:nvGrpSpPr>
        <p:grpSpPr>
          <a:xfrm>
            <a:off x="6749270" y="2995928"/>
            <a:ext cx="1682149" cy="1730579"/>
            <a:chOff x="8872945" y="3964675"/>
            <a:chExt cx="2244034" cy="2308641"/>
          </a:xfrm>
        </p:grpSpPr>
        <p:pic>
          <p:nvPicPr>
            <p:cNvPr id="2" name="Picture 1"/>
            <p:cNvPicPr>
              <a:picLocks noChangeAspect="1"/>
            </p:cNvPicPr>
            <p:nvPr/>
          </p:nvPicPr>
          <p:blipFill rotWithShape="1">
            <a:blip r:embed="rId1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1745" r="-2359"/>
            <a:stretch/>
          </p:blipFill>
          <p:spPr>
            <a:xfrm>
              <a:off x="9202367" y="3964675"/>
              <a:ext cx="1585190" cy="1966426"/>
            </a:xfrm>
            <a:prstGeom prst="rect">
              <a:avLst/>
            </a:prstGeom>
          </p:spPr>
        </p:pic>
        <p:sp>
          <p:nvSpPr>
            <p:cNvPr id="81" name="TextBox 80"/>
            <p:cNvSpPr txBox="1"/>
            <p:nvPr/>
          </p:nvSpPr>
          <p:spPr>
            <a:xfrm>
              <a:off x="8872945" y="5927554"/>
              <a:ext cx="2244034" cy="34576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>
                <a:lnSpc>
                  <a:spcPct val="110000"/>
                </a:lnSpc>
              </a:pPr>
              <a:r>
                <a:rPr lang="en-US" sz="900" dirty="0"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Mr. Scott Eisele (PhD Candidate)</a:t>
              </a:r>
            </a:p>
          </p:txBody>
        </p:sp>
      </p:grp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4000" dirty="0"/>
              <a:t>Summary</a:t>
            </a:r>
          </a:p>
        </p:txBody>
      </p:sp>
      <p:sp>
        <p:nvSpPr>
          <p:cNvPr id="82" name="Content Placeholder 2"/>
          <p:cNvSpPr>
            <a:spLocks noGrp="1"/>
          </p:cNvSpPr>
          <p:nvPr>
            <p:ph idx="1"/>
          </p:nvPr>
        </p:nvSpPr>
        <p:spPr>
          <a:xfrm>
            <a:off x="81369" y="4945027"/>
            <a:ext cx="5223295" cy="1599391"/>
          </a:xfrm>
        </p:spPr>
        <p:txBody>
          <a:bodyPr>
            <a:noAutofit/>
          </a:bodyPr>
          <a:lstStyle/>
          <a:p>
            <a:r>
              <a:rPr lang="en-US" sz="1700" dirty="0" smtClean="0"/>
              <a:t>Information privacy</a:t>
            </a:r>
          </a:p>
          <a:p>
            <a:pPr lvl="1"/>
            <a:r>
              <a:rPr lang="en-US" sz="1700" dirty="0" smtClean="0"/>
              <a:t>energy assets, anonymous addresses, and mixing services</a:t>
            </a:r>
          </a:p>
          <a:p>
            <a:r>
              <a:rPr lang="en-US" sz="1700" dirty="0" smtClean="0"/>
              <a:t>Assuring integrity and auditability of finalized transactions</a:t>
            </a:r>
          </a:p>
          <a:p>
            <a:pPr lvl="1"/>
            <a:r>
              <a:rPr lang="en-US" sz="1700" dirty="0" smtClean="0"/>
              <a:t>distributed ledger and tamper proof smart meters</a:t>
            </a:r>
            <a:endParaRPr lang="en-US" sz="1700" dirty="0"/>
          </a:p>
        </p:txBody>
      </p:sp>
      <p:sp>
        <p:nvSpPr>
          <p:cNvPr id="5" name="TextBox 4"/>
          <p:cNvSpPr txBox="1"/>
          <p:nvPr/>
        </p:nvSpPr>
        <p:spPr>
          <a:xfrm>
            <a:off x="5475111" y="5449632"/>
            <a:ext cx="3668889" cy="61555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700" dirty="0" smtClean="0"/>
              <a:t>URL: Scope.isis.Vanderbilt.edu</a:t>
            </a:r>
          </a:p>
          <a:p>
            <a:r>
              <a:rPr lang="en-US" sz="1700" dirty="0" smtClean="0"/>
              <a:t>Email: abhishek.dubey@Vanderbilt.edu</a:t>
            </a:r>
            <a:endParaRPr lang="en-US" sz="1700" dirty="0"/>
          </a:p>
        </p:txBody>
      </p:sp>
    </p:spTree>
    <p:extLst>
      <p:ext uri="{BB962C8B-B14F-4D97-AF65-F5344CB8AC3E}">
        <p14:creationId xmlns:p14="http://schemas.microsoft.com/office/powerpoint/2010/main" val="5865524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e Evolution of Energy Networks</a:t>
            </a:r>
            <a:endParaRPr lang="en-US" dirty="0"/>
          </a:p>
        </p:txBody>
      </p:sp>
      <p:pic>
        <p:nvPicPr>
          <p:cNvPr id="13" name="Shape 157" descr="https://cdn-images-1.medium.com/max/800/1*nnpzTe1hx74WKICL3Gj34A.jpeg"/>
          <p:cNvPicPr preferRelativeResize="0"/>
          <p:nvPr/>
        </p:nvPicPr>
        <p:blipFill rotWithShape="1">
          <a:blip r:embed="rId3">
            <a:alphaModFix/>
          </a:blip>
          <a:srcRect r="64668" b="10154"/>
          <a:stretch/>
        </p:blipFill>
        <p:spPr>
          <a:xfrm>
            <a:off x="551669" y="1628860"/>
            <a:ext cx="1578215" cy="2541698"/>
          </a:xfrm>
          <a:prstGeom prst="rect">
            <a:avLst/>
          </a:prstGeom>
          <a:noFill/>
          <a:ln>
            <a:noFill/>
          </a:ln>
        </p:spPr>
      </p:pic>
      <p:sp>
        <p:nvSpPr>
          <p:cNvPr id="6" name="TextBox 5"/>
          <p:cNvSpPr txBox="1"/>
          <p:nvPr/>
        </p:nvSpPr>
        <p:spPr>
          <a:xfrm>
            <a:off x="64797" y="4522888"/>
            <a:ext cx="2851247" cy="1323439"/>
          </a:xfrm>
          <a:prstGeom prst="rect">
            <a:avLst/>
          </a:prstGeom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US" sz="1600" i="1" dirty="0" smtClean="0"/>
              <a:t>Traditional networks with transmission system operators, distribution system operators, and radial distribution systems to communities</a:t>
            </a:r>
            <a:endParaRPr lang="en-US" sz="1600" i="1" dirty="0"/>
          </a:p>
        </p:txBody>
      </p:sp>
    </p:spTree>
    <p:extLst>
      <p:ext uri="{BB962C8B-B14F-4D97-AF65-F5344CB8AC3E}">
        <p14:creationId xmlns:p14="http://schemas.microsoft.com/office/powerpoint/2010/main" val="29805340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Evolution of Energy Networks</a:t>
            </a:r>
          </a:p>
        </p:txBody>
      </p:sp>
      <p:pic>
        <p:nvPicPr>
          <p:cNvPr id="13" name="Shape 157" descr="https://cdn-images-1.medium.com/max/800/1*nnpzTe1hx74WKICL3Gj34A.jpeg"/>
          <p:cNvPicPr preferRelativeResize="0"/>
          <p:nvPr/>
        </p:nvPicPr>
        <p:blipFill rotWithShape="1">
          <a:blip r:embed="rId3">
            <a:alphaModFix/>
          </a:blip>
          <a:srcRect r="64668" b="10154"/>
          <a:stretch/>
        </p:blipFill>
        <p:spPr>
          <a:xfrm>
            <a:off x="551669" y="1628860"/>
            <a:ext cx="1578215" cy="2541698"/>
          </a:xfrm>
          <a:prstGeom prst="rect">
            <a:avLst/>
          </a:prstGeom>
          <a:noFill/>
          <a:ln>
            <a:noFill/>
          </a:ln>
        </p:spPr>
      </p:pic>
      <p:pic>
        <p:nvPicPr>
          <p:cNvPr id="14" name="Shape 157" descr="https://cdn-images-1.medium.com/max/800/1*nnpzTe1hx74WKICL3Gj34A.jpeg"/>
          <p:cNvPicPr preferRelativeResize="0"/>
          <p:nvPr/>
        </p:nvPicPr>
        <p:blipFill rotWithShape="1">
          <a:blip r:embed="rId3">
            <a:alphaModFix/>
          </a:blip>
          <a:srcRect l="34583" r="34211" b="10994"/>
          <a:stretch/>
        </p:blipFill>
        <p:spPr>
          <a:xfrm>
            <a:off x="3738445" y="1694618"/>
            <a:ext cx="1393903" cy="2517954"/>
          </a:xfrm>
          <a:prstGeom prst="rect">
            <a:avLst/>
          </a:prstGeom>
          <a:noFill/>
          <a:ln>
            <a:noFill/>
          </a:ln>
        </p:spPr>
      </p:pic>
      <p:sp>
        <p:nvSpPr>
          <p:cNvPr id="4" name="Right Arrow 3"/>
          <p:cNvSpPr/>
          <p:nvPr/>
        </p:nvSpPr>
        <p:spPr>
          <a:xfrm>
            <a:off x="2442117" y="2565170"/>
            <a:ext cx="947853" cy="613317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extBox 7"/>
          <p:cNvSpPr txBox="1"/>
          <p:nvPr/>
        </p:nvSpPr>
        <p:spPr>
          <a:xfrm>
            <a:off x="3120105" y="4522888"/>
            <a:ext cx="2851247" cy="1077218"/>
          </a:xfrm>
          <a:prstGeom prst="rect">
            <a:avLst/>
          </a:prstGeom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US" sz="1600" i="1" dirty="0" smtClean="0"/>
              <a:t>Network of distribution feeders with some </a:t>
            </a:r>
            <a:r>
              <a:rPr lang="en-US" sz="1600" i="1" dirty="0" err="1" smtClean="0"/>
              <a:t>microgrids</a:t>
            </a:r>
            <a:r>
              <a:rPr lang="en-US" sz="1600" i="1" dirty="0" smtClean="0"/>
              <a:t> with tightly integrated distributed energy resources</a:t>
            </a:r>
          </a:p>
        </p:txBody>
      </p:sp>
      <p:sp>
        <p:nvSpPr>
          <p:cNvPr id="3" name="Rectangle 2"/>
          <p:cNvSpPr/>
          <p:nvPr/>
        </p:nvSpPr>
        <p:spPr>
          <a:xfrm>
            <a:off x="5721178" y="956280"/>
            <a:ext cx="3311611" cy="513063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30188" lvl="0" indent="-230188">
              <a:spcBef>
                <a:spcPts val="600"/>
              </a:spcBef>
              <a:buClr>
                <a:srgbClr val="0E1C58"/>
              </a:buClr>
              <a:buSzPct val="101818"/>
              <a:buFont typeface="Arial"/>
              <a:buChar char="•"/>
            </a:pPr>
            <a:r>
              <a:rPr lang="en-US" sz="2240" dirty="0">
                <a:solidFill>
                  <a:srgbClr val="0E1C58"/>
                </a:solidFill>
                <a:latin typeface="Calibri"/>
                <a:ea typeface="Calibri"/>
                <a:cs typeface="Calibri"/>
                <a:sym typeface="Calibri"/>
              </a:rPr>
              <a:t>Advantages of decentralization</a:t>
            </a:r>
          </a:p>
          <a:p>
            <a:pPr marL="512763" lvl="1" indent="-285750">
              <a:spcBef>
                <a:spcPts val="600"/>
              </a:spcBef>
              <a:buClr>
                <a:srgbClr val="0E1C58"/>
              </a:buClr>
              <a:buSzPct val="98000"/>
              <a:buFont typeface="Arial"/>
              <a:buChar char="–"/>
            </a:pPr>
            <a:r>
              <a:rPr lang="en-US" sz="1960" dirty="0" smtClean="0">
                <a:solidFill>
                  <a:srgbClr val="0E1C58"/>
                </a:solidFill>
                <a:latin typeface="Calibri"/>
                <a:ea typeface="Calibri"/>
                <a:cs typeface="Calibri"/>
                <a:sym typeface="Calibri"/>
              </a:rPr>
              <a:t>improved </a:t>
            </a:r>
            <a:r>
              <a:rPr lang="en-US" sz="1960" dirty="0">
                <a:solidFill>
                  <a:srgbClr val="0E1C58"/>
                </a:solidFill>
                <a:latin typeface="Calibri"/>
                <a:ea typeface="Calibri"/>
                <a:cs typeface="Calibri"/>
                <a:sym typeface="Calibri"/>
              </a:rPr>
              <a:t>cyber </a:t>
            </a:r>
            <a:r>
              <a:rPr lang="en-US" sz="1960" dirty="0" smtClean="0">
                <a:solidFill>
                  <a:srgbClr val="0E1C58"/>
                </a:solidFill>
                <a:latin typeface="Calibri"/>
                <a:ea typeface="Calibri"/>
                <a:cs typeface="Calibri"/>
                <a:sym typeface="Calibri"/>
              </a:rPr>
              <a:t>and </a:t>
            </a:r>
            <a:r>
              <a:rPr lang="en-US" sz="1960" dirty="0">
                <a:solidFill>
                  <a:srgbClr val="0E1C58"/>
                </a:solidFill>
                <a:latin typeface="Calibri"/>
                <a:ea typeface="Calibri"/>
                <a:cs typeface="Calibri"/>
                <a:sym typeface="Calibri"/>
              </a:rPr>
              <a:t>physical reliability by removing single point of failures</a:t>
            </a:r>
          </a:p>
          <a:p>
            <a:pPr marL="512763" lvl="1" indent="-285750">
              <a:spcBef>
                <a:spcPts val="600"/>
              </a:spcBef>
              <a:buClr>
                <a:srgbClr val="0E1C58"/>
              </a:buClr>
              <a:buSzPct val="98000"/>
              <a:buFont typeface="Arial"/>
              <a:buChar char="–"/>
            </a:pPr>
            <a:r>
              <a:rPr lang="en-US" sz="1960" dirty="0" smtClean="0"/>
              <a:t>f</a:t>
            </a:r>
            <a:r>
              <a:rPr lang="en-US" sz="1960" dirty="0" smtClean="0">
                <a:solidFill>
                  <a:srgbClr val="0E1C58"/>
                </a:solidFill>
                <a:latin typeface="Calibri"/>
                <a:ea typeface="Calibri"/>
                <a:cs typeface="Calibri"/>
                <a:sym typeface="Calibri"/>
              </a:rPr>
              <a:t>aster </a:t>
            </a:r>
            <a:r>
              <a:rPr lang="en-US" sz="1960" dirty="0">
                <a:solidFill>
                  <a:srgbClr val="0E1C58"/>
                </a:solidFill>
                <a:latin typeface="Calibri"/>
                <a:ea typeface="Calibri"/>
                <a:cs typeface="Calibri"/>
                <a:sym typeface="Calibri"/>
              </a:rPr>
              <a:t>decision making by avoiding network penalties </a:t>
            </a:r>
            <a:r>
              <a:rPr lang="en-US" dirty="0">
                <a:solidFill>
                  <a:srgbClr val="0E1C58"/>
                </a:solidFill>
                <a:sym typeface="Calibri"/>
              </a:rPr>
              <a:t>due</a:t>
            </a:r>
            <a:r>
              <a:rPr lang="en-US" sz="1960" dirty="0">
                <a:solidFill>
                  <a:srgbClr val="0E1C58"/>
                </a:solidFill>
                <a:latin typeface="Calibri"/>
                <a:ea typeface="Calibri"/>
                <a:cs typeface="Calibri"/>
                <a:sym typeface="Calibri"/>
              </a:rPr>
              <a:t> to round-trip </a:t>
            </a:r>
            <a:r>
              <a:rPr lang="en-US" sz="1960" dirty="0" smtClean="0">
                <a:solidFill>
                  <a:srgbClr val="0E1C58"/>
                </a:solidFill>
                <a:latin typeface="Calibri"/>
                <a:ea typeface="Calibri"/>
                <a:cs typeface="Calibri"/>
                <a:sym typeface="Calibri"/>
              </a:rPr>
              <a:t>to </a:t>
            </a:r>
            <a:r>
              <a:rPr lang="en-US" sz="1960" dirty="0">
                <a:solidFill>
                  <a:srgbClr val="0E1C58"/>
                </a:solidFill>
                <a:latin typeface="Calibri"/>
                <a:ea typeface="Calibri"/>
                <a:cs typeface="Calibri"/>
                <a:sym typeface="Calibri"/>
              </a:rPr>
              <a:t>the cloud</a:t>
            </a:r>
          </a:p>
          <a:p>
            <a:pPr marL="512763" lvl="1" indent="-285750">
              <a:spcBef>
                <a:spcPts val="600"/>
              </a:spcBef>
              <a:buClr>
                <a:srgbClr val="0E1C58"/>
              </a:buClr>
              <a:buSzPct val="98000"/>
              <a:buFont typeface="Arial"/>
              <a:buChar char="–"/>
            </a:pPr>
            <a:r>
              <a:rPr lang="en-US" sz="1960" dirty="0" smtClean="0">
                <a:solidFill>
                  <a:srgbClr val="0E1C58"/>
                </a:solidFill>
                <a:latin typeface="Calibri"/>
                <a:ea typeface="Calibri"/>
                <a:cs typeface="Calibri"/>
                <a:sym typeface="Calibri"/>
              </a:rPr>
              <a:t>improved </a:t>
            </a:r>
            <a:r>
              <a:rPr lang="en-US" sz="1960" dirty="0">
                <a:solidFill>
                  <a:srgbClr val="0E1C58"/>
                </a:solidFill>
                <a:latin typeface="Calibri"/>
                <a:ea typeface="Calibri"/>
                <a:cs typeface="Calibri"/>
                <a:sym typeface="Calibri"/>
              </a:rPr>
              <a:t>scalability</a:t>
            </a:r>
          </a:p>
          <a:p>
            <a:pPr marL="512763" lvl="1" indent="-285750">
              <a:spcBef>
                <a:spcPts val="600"/>
              </a:spcBef>
              <a:buClr>
                <a:srgbClr val="0E1C58"/>
              </a:buClr>
              <a:buSzPct val="98000"/>
              <a:buFont typeface="Arial"/>
              <a:buChar char="–"/>
            </a:pPr>
            <a:r>
              <a:rPr lang="en-US" sz="1960" dirty="0" smtClean="0">
                <a:solidFill>
                  <a:srgbClr val="0E1C58"/>
                </a:solidFill>
                <a:latin typeface="Calibri"/>
                <a:ea typeface="Calibri"/>
                <a:cs typeface="Calibri"/>
                <a:sym typeface="Calibri"/>
              </a:rPr>
              <a:t>better </a:t>
            </a:r>
            <a:r>
              <a:rPr lang="en-US" sz="1960" dirty="0">
                <a:solidFill>
                  <a:srgbClr val="0E1C58"/>
                </a:solidFill>
                <a:latin typeface="Calibri"/>
                <a:ea typeface="Calibri"/>
                <a:cs typeface="Calibri"/>
                <a:sym typeface="Calibri"/>
              </a:rPr>
              <a:t>integration with </a:t>
            </a:r>
            <a:br>
              <a:rPr lang="en-US" sz="1960" dirty="0">
                <a:solidFill>
                  <a:srgbClr val="0E1C58"/>
                </a:solidFill>
                <a:latin typeface="Calibri"/>
                <a:ea typeface="Calibri"/>
                <a:cs typeface="Calibri"/>
                <a:sym typeface="Calibri"/>
              </a:rPr>
            </a:br>
            <a:r>
              <a:rPr lang="en-US" sz="1960" dirty="0">
                <a:solidFill>
                  <a:srgbClr val="0E1C58"/>
                </a:solidFill>
                <a:latin typeface="Calibri"/>
                <a:ea typeface="Calibri"/>
                <a:cs typeface="Calibri"/>
                <a:sym typeface="Calibri"/>
              </a:rPr>
              <a:t>hierarchical control systems </a:t>
            </a:r>
          </a:p>
          <a:p>
            <a:pPr marL="342900" lvl="0" indent="-342900">
              <a:spcBef>
                <a:spcPts val="600"/>
              </a:spcBef>
              <a:buClr>
                <a:srgbClr val="0E1C58"/>
              </a:buClr>
              <a:buSzPct val="101818"/>
            </a:pPr>
            <a:endParaRPr lang="en-US" sz="2240" dirty="0">
              <a:solidFill>
                <a:srgbClr val="0E1C58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64797" y="4522888"/>
            <a:ext cx="2851247" cy="1323439"/>
          </a:xfrm>
          <a:prstGeom prst="rect">
            <a:avLst/>
          </a:prstGeom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US" sz="1600" i="1" dirty="0" smtClean="0"/>
              <a:t>Traditional networks with transmission system operators, distribution system operators, and radial distribution systems to communities</a:t>
            </a:r>
            <a:endParaRPr lang="en-US" sz="1600" i="1" dirty="0"/>
          </a:p>
        </p:txBody>
      </p:sp>
    </p:spTree>
    <p:extLst>
      <p:ext uri="{BB962C8B-B14F-4D97-AF65-F5344CB8AC3E}">
        <p14:creationId xmlns:p14="http://schemas.microsoft.com/office/powerpoint/2010/main" val="8153371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Evolution of Energy Networks</a:t>
            </a:r>
          </a:p>
        </p:txBody>
      </p:sp>
      <p:pic>
        <p:nvPicPr>
          <p:cNvPr id="13" name="Shape 157" descr="https://cdn-images-1.medium.com/max/800/1*nnpzTe1hx74WKICL3Gj34A.jpeg"/>
          <p:cNvPicPr preferRelativeResize="0"/>
          <p:nvPr/>
        </p:nvPicPr>
        <p:blipFill rotWithShape="1">
          <a:blip r:embed="rId3">
            <a:alphaModFix/>
          </a:blip>
          <a:srcRect r="64668" b="10154"/>
          <a:stretch/>
        </p:blipFill>
        <p:spPr>
          <a:xfrm>
            <a:off x="551669" y="1628860"/>
            <a:ext cx="1578215" cy="2541698"/>
          </a:xfrm>
          <a:prstGeom prst="rect">
            <a:avLst/>
          </a:prstGeom>
          <a:noFill/>
          <a:ln>
            <a:noFill/>
          </a:ln>
        </p:spPr>
      </p:pic>
      <p:pic>
        <p:nvPicPr>
          <p:cNvPr id="14" name="Shape 157" descr="https://cdn-images-1.medium.com/max/800/1*nnpzTe1hx74WKICL3Gj34A.jpeg"/>
          <p:cNvPicPr preferRelativeResize="0"/>
          <p:nvPr/>
        </p:nvPicPr>
        <p:blipFill rotWithShape="1">
          <a:blip r:embed="rId3">
            <a:alphaModFix/>
          </a:blip>
          <a:srcRect l="34583" r="34211" b="10994"/>
          <a:stretch/>
        </p:blipFill>
        <p:spPr>
          <a:xfrm>
            <a:off x="3738445" y="1694618"/>
            <a:ext cx="1393903" cy="2517954"/>
          </a:xfrm>
          <a:prstGeom prst="rect">
            <a:avLst/>
          </a:prstGeom>
          <a:noFill/>
          <a:ln>
            <a:noFill/>
          </a:ln>
        </p:spPr>
      </p:pic>
      <p:sp>
        <p:nvSpPr>
          <p:cNvPr id="4" name="Right Arrow 3"/>
          <p:cNvSpPr/>
          <p:nvPr/>
        </p:nvSpPr>
        <p:spPr>
          <a:xfrm>
            <a:off x="2442117" y="2565170"/>
            <a:ext cx="947853" cy="613317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5" name="Shape 157" descr="https://cdn-images-1.medium.com/max/800/1*nnpzTe1hx74WKICL3Gj34A.jpeg"/>
          <p:cNvPicPr preferRelativeResize="0"/>
          <p:nvPr/>
        </p:nvPicPr>
        <p:blipFill rotWithShape="1">
          <a:blip r:embed="rId3">
            <a:alphaModFix/>
          </a:blip>
          <a:srcRect l="65549" b="11337"/>
          <a:stretch/>
        </p:blipFill>
        <p:spPr>
          <a:xfrm>
            <a:off x="7273132" y="1645587"/>
            <a:ext cx="1647592" cy="2566985"/>
          </a:xfrm>
          <a:prstGeom prst="rect">
            <a:avLst/>
          </a:prstGeom>
          <a:noFill/>
          <a:ln>
            <a:noFill/>
          </a:ln>
        </p:spPr>
      </p:pic>
      <p:sp>
        <p:nvSpPr>
          <p:cNvPr id="16" name="Right Arrow 15"/>
          <p:cNvSpPr/>
          <p:nvPr/>
        </p:nvSpPr>
        <p:spPr>
          <a:xfrm>
            <a:off x="5519726" y="2478941"/>
            <a:ext cx="1399482" cy="613317"/>
          </a:xfrm>
          <a:prstGeom prst="rightArrow">
            <a:avLst/>
          </a:prstGeom>
          <a:ln>
            <a:prstDash val="dash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Trend</a:t>
            </a:r>
            <a:endParaRPr lang="en-US" dirty="0"/>
          </a:p>
        </p:txBody>
      </p:sp>
      <p:sp>
        <p:nvSpPr>
          <p:cNvPr id="19" name="TextBox 18"/>
          <p:cNvSpPr txBox="1"/>
          <p:nvPr/>
        </p:nvSpPr>
        <p:spPr>
          <a:xfrm>
            <a:off x="6175413" y="4522888"/>
            <a:ext cx="2851247" cy="1077218"/>
          </a:xfrm>
          <a:prstGeom prst="rect">
            <a:avLst/>
          </a:prstGeom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US" sz="1600" i="1" dirty="0" smtClean="0"/>
              <a:t>Network of transactive microgrids with limited role of distribution system operators</a:t>
            </a:r>
            <a:endParaRPr lang="en-US" sz="1600" i="1" dirty="0"/>
          </a:p>
          <a:p>
            <a:pPr algn="ctr"/>
            <a:endParaRPr lang="en-US" sz="1600" i="1" dirty="0"/>
          </a:p>
        </p:txBody>
      </p:sp>
      <p:sp>
        <p:nvSpPr>
          <p:cNvPr id="11" name="TextBox 10"/>
          <p:cNvSpPr txBox="1"/>
          <p:nvPr/>
        </p:nvSpPr>
        <p:spPr>
          <a:xfrm>
            <a:off x="3120105" y="4522888"/>
            <a:ext cx="2851247" cy="1077218"/>
          </a:xfrm>
          <a:prstGeom prst="rect">
            <a:avLst/>
          </a:prstGeom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US" sz="1600" i="1" dirty="0" smtClean="0"/>
              <a:t>Network of distribution feeders with some microgrids with tightly integrated distributed energy resources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64797" y="4522888"/>
            <a:ext cx="2851247" cy="1323439"/>
          </a:xfrm>
          <a:prstGeom prst="rect">
            <a:avLst/>
          </a:prstGeom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US" sz="1600" i="1" dirty="0"/>
              <a:t>Traditional networks with transmission system operators, distribution system operators, and radial distribution systems to communities</a:t>
            </a:r>
          </a:p>
        </p:txBody>
      </p:sp>
    </p:spTree>
    <p:extLst>
      <p:ext uri="{BB962C8B-B14F-4D97-AF65-F5344CB8AC3E}">
        <p14:creationId xmlns:p14="http://schemas.microsoft.com/office/powerpoint/2010/main" val="21710918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470516" y="833427"/>
            <a:ext cx="8229600" cy="1835881"/>
          </a:xfrm>
        </p:spPr>
        <p:txBody>
          <a:bodyPr>
            <a:normAutofit/>
          </a:bodyPr>
          <a:lstStyle/>
          <a:p>
            <a:r>
              <a:rPr lang="en-US" dirty="0" smtClean="0"/>
              <a:t>Smart Homes with Production and Delayed Consumption Capability are the Key to this New Trend of </a:t>
            </a:r>
            <a:r>
              <a:rPr lang="en-US" u="sng" dirty="0" smtClean="0"/>
              <a:t>Transactive Energy</a:t>
            </a:r>
            <a:endParaRPr lang="en-US" u="sng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2766015"/>
            <a:ext cx="9170632" cy="40919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483379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ransactive Energy: Smart Homes </a:t>
            </a:r>
            <a:r>
              <a:rPr lang="is-IS" dirty="0"/>
              <a:t>→</a:t>
            </a:r>
            <a:r>
              <a:rPr lang="en-US" dirty="0" smtClean="0"/>
              <a:t> Smart Prosumers</a:t>
            </a:r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942944"/>
            <a:ext cx="4420028" cy="1972240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3806218"/>
            <a:ext cx="4420028" cy="1972240"/>
          </a:xfrm>
          <a:prstGeom prst="rect">
            <a:avLst/>
          </a:prstGeom>
        </p:spPr>
      </p:pic>
      <p:cxnSp>
        <p:nvCxnSpPr>
          <p:cNvPr id="7" name="Straight Arrow Connector 6"/>
          <p:cNvCxnSpPr>
            <a:stCxn id="4" idx="2"/>
            <a:endCxn id="5" idx="0"/>
          </p:cNvCxnSpPr>
          <p:nvPr/>
        </p:nvCxnSpPr>
        <p:spPr>
          <a:xfrm>
            <a:off x="2210014" y="2915184"/>
            <a:ext cx="0" cy="891034"/>
          </a:xfrm>
          <a:prstGeom prst="straightConnector1">
            <a:avLst/>
          </a:prstGeom>
          <a:ln>
            <a:headEnd type="triangle" w="med" len="med"/>
            <a:tailEnd type="triangle" w="med" len="med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TextBox 7"/>
          <p:cNvSpPr txBox="1"/>
          <p:nvPr/>
        </p:nvSpPr>
        <p:spPr>
          <a:xfrm>
            <a:off x="2317064" y="2915184"/>
            <a:ext cx="2254936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Energy Exchange</a:t>
            </a:r>
          </a:p>
          <a:p>
            <a:r>
              <a:rPr lang="en-US" dirty="0" smtClean="0"/>
              <a:t>Reduces Dependence on the Grid</a:t>
            </a:r>
            <a:endParaRPr lang="en-US" dirty="0"/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572000" y="942944"/>
            <a:ext cx="4195270" cy="2767138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53213" y="3806218"/>
            <a:ext cx="3714057" cy="2086582"/>
          </a:xfrm>
          <a:prstGeom prst="rect">
            <a:avLst/>
          </a:prstGeom>
        </p:spPr>
      </p:pic>
      <p:sp>
        <p:nvSpPr>
          <p:cNvPr id="16" name="TextBox 15"/>
          <p:cNvSpPr txBox="1"/>
          <p:nvPr/>
        </p:nvSpPr>
        <p:spPr>
          <a:xfrm>
            <a:off x="7028330" y="3752432"/>
            <a:ext cx="184672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smtClean="0"/>
              <a:t>typical generation and consumption </a:t>
            </a:r>
            <a:r>
              <a:rPr lang="en-US" sz="1400" dirty="0" smtClean="0"/>
              <a:t>profile </a:t>
            </a:r>
            <a:endParaRPr lang="en-US" sz="1400" dirty="0"/>
          </a:p>
        </p:txBody>
      </p:sp>
      <p:sp>
        <p:nvSpPr>
          <p:cNvPr id="10" name="TextBox 9"/>
          <p:cNvSpPr txBox="1"/>
          <p:nvPr/>
        </p:nvSpPr>
        <p:spPr>
          <a:xfrm>
            <a:off x="17929" y="911555"/>
            <a:ext cx="184672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mtClean="0"/>
              <a:t>Participant 1</a:t>
            </a:r>
            <a:endParaRPr lang="en-US" dirty="0"/>
          </a:p>
        </p:txBody>
      </p:sp>
      <p:sp>
        <p:nvSpPr>
          <p:cNvPr id="11" name="TextBox 10"/>
          <p:cNvSpPr txBox="1"/>
          <p:nvPr/>
        </p:nvSpPr>
        <p:spPr>
          <a:xfrm>
            <a:off x="0" y="3752431"/>
            <a:ext cx="184672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mtClean="0"/>
              <a:t>Participant 2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449710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176834"/>
            <a:ext cx="4243675" cy="4525963"/>
          </a:xfrm>
        </p:spPr>
        <p:txBody>
          <a:bodyPr>
            <a:normAutofit lnSpcReduction="10000"/>
          </a:bodyPr>
          <a:lstStyle/>
          <a:p>
            <a:pPr marL="0" indent="0">
              <a:buNone/>
            </a:pPr>
            <a:r>
              <a:rPr lang="en-US" dirty="0" smtClean="0"/>
              <a:t>Challenges:</a:t>
            </a:r>
          </a:p>
          <a:p>
            <a:r>
              <a:rPr lang="en-US" dirty="0" smtClean="0"/>
              <a:t>Local energy market safety and efficiency</a:t>
            </a:r>
          </a:p>
          <a:p>
            <a:pPr lvl="1"/>
            <a:r>
              <a:rPr lang="en-US" dirty="0" smtClean="0"/>
              <a:t>time synchronized distributed </a:t>
            </a:r>
            <a:r>
              <a:rPr lang="en-US" dirty="0" err="1" smtClean="0"/>
              <a:t>IoT</a:t>
            </a:r>
            <a:r>
              <a:rPr lang="en-US" dirty="0" smtClean="0"/>
              <a:t> platforms problem</a:t>
            </a:r>
          </a:p>
          <a:p>
            <a:r>
              <a:rPr lang="en-US" dirty="0"/>
              <a:t>Integrity and auditability of finalized transactions</a:t>
            </a:r>
          </a:p>
          <a:p>
            <a:pPr lvl="1"/>
            <a:r>
              <a:rPr lang="en-US" dirty="0"/>
              <a:t>decentralized management problem</a:t>
            </a:r>
          </a:p>
          <a:p>
            <a:r>
              <a:rPr lang="en-US" dirty="0" smtClean="0"/>
              <a:t>Information privacy for prosumers</a:t>
            </a:r>
          </a:p>
          <a:p>
            <a:pPr lvl="1"/>
            <a:r>
              <a:rPr lang="en-US" dirty="0" smtClean="0"/>
              <a:t>distributed protocol problem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Transactive Energy Challenges</a:t>
            </a:r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943060" y="1037212"/>
            <a:ext cx="4200939" cy="1972240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943060" y="3900486"/>
            <a:ext cx="4200940" cy="1972240"/>
          </a:xfrm>
          <a:prstGeom prst="rect">
            <a:avLst/>
          </a:prstGeom>
        </p:spPr>
      </p:pic>
      <p:cxnSp>
        <p:nvCxnSpPr>
          <p:cNvPr id="6" name="Straight Arrow Connector 5"/>
          <p:cNvCxnSpPr/>
          <p:nvPr/>
        </p:nvCxnSpPr>
        <p:spPr>
          <a:xfrm>
            <a:off x="6718838" y="3009452"/>
            <a:ext cx="0" cy="891034"/>
          </a:xfrm>
          <a:prstGeom prst="straightConnector1">
            <a:avLst/>
          </a:prstGeom>
          <a:ln>
            <a:headEnd type="triangle" w="med" len="med"/>
            <a:tailEnd type="triangle" w="med" len="med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" name="TextBox 6"/>
          <p:cNvSpPr txBox="1"/>
          <p:nvPr/>
        </p:nvSpPr>
        <p:spPr>
          <a:xfrm>
            <a:off x="6866966" y="3009452"/>
            <a:ext cx="2312718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Energy Exchange</a:t>
            </a:r>
          </a:p>
          <a:p>
            <a:r>
              <a:rPr lang="en-US" dirty="0" smtClean="0"/>
              <a:t>Reduces Dependence on the Gri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03623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176834"/>
            <a:ext cx="3844776" cy="4525963"/>
          </a:xfrm>
        </p:spPr>
        <p:txBody>
          <a:bodyPr>
            <a:normAutofit/>
          </a:bodyPr>
          <a:lstStyle/>
          <a:p>
            <a:r>
              <a:rPr lang="en-US" dirty="0" smtClean="0"/>
              <a:t>Information privacy</a:t>
            </a:r>
          </a:p>
          <a:p>
            <a:pPr lvl="1"/>
            <a:r>
              <a:rPr lang="en-US" dirty="0" smtClean="0"/>
              <a:t>leakage </a:t>
            </a:r>
            <a:r>
              <a:rPr lang="en-US" dirty="0"/>
              <a:t>of energy usage patterns to other </a:t>
            </a:r>
            <a:r>
              <a:rPr lang="en-US" dirty="0" smtClean="0"/>
              <a:t>prosumers</a:t>
            </a:r>
          </a:p>
          <a:p>
            <a:pPr lvl="1"/>
            <a:r>
              <a:rPr lang="en-US" dirty="0"/>
              <a:t>i</a:t>
            </a:r>
            <a:r>
              <a:rPr lang="en-US" dirty="0" smtClean="0"/>
              <a:t>nference </a:t>
            </a:r>
            <a:r>
              <a:rPr lang="en-US" dirty="0"/>
              <a:t>of future states </a:t>
            </a:r>
            <a:r>
              <a:rPr lang="en-US" dirty="0" smtClean="0"/>
              <a:t>from prosumer transactions</a:t>
            </a:r>
          </a:p>
          <a:p>
            <a:pPr lvl="1"/>
            <a:r>
              <a:rPr lang="en-US" dirty="0"/>
              <a:t>t</a:t>
            </a:r>
            <a:r>
              <a:rPr lang="en-US" dirty="0" smtClean="0"/>
              <a:t>ransactions </a:t>
            </a:r>
            <a:r>
              <a:rPr lang="en-US" dirty="0"/>
              <a:t>and </a:t>
            </a:r>
            <a:r>
              <a:rPr lang="en-US" dirty="0" smtClean="0"/>
              <a:t>energy usage </a:t>
            </a:r>
            <a:r>
              <a:rPr lang="en-US" dirty="0"/>
              <a:t>data in a transactive microgrid are much </a:t>
            </a:r>
            <a:r>
              <a:rPr lang="en-US" dirty="0" smtClean="0"/>
              <a:t>richer sources </a:t>
            </a:r>
            <a:r>
              <a:rPr lang="en-US" dirty="0"/>
              <a:t>of information than the simple usage data </a:t>
            </a:r>
            <a:r>
              <a:rPr lang="en-US" dirty="0" smtClean="0"/>
              <a:t>collected by </a:t>
            </a:r>
            <a:r>
              <a:rPr lang="en-US" dirty="0"/>
              <a:t>smart meters</a:t>
            </a:r>
            <a:endParaRPr lang="en-US" dirty="0" smtClean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Focus Challenge: Privacy</a:t>
            </a:r>
            <a:endParaRPr lang="en-US" dirty="0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604704" y="2502332"/>
            <a:ext cx="4253018" cy="1605842"/>
          </a:xfrm>
          <a:prstGeom prst="rect">
            <a:avLst/>
          </a:prstGeom>
        </p:spPr>
      </p:pic>
      <p:cxnSp>
        <p:nvCxnSpPr>
          <p:cNvPr id="10" name="Straight Arrow Connector 9"/>
          <p:cNvCxnSpPr/>
          <p:nvPr/>
        </p:nvCxnSpPr>
        <p:spPr>
          <a:xfrm>
            <a:off x="5035813" y="4108173"/>
            <a:ext cx="0" cy="891034"/>
          </a:xfrm>
          <a:prstGeom prst="straightConnector1">
            <a:avLst/>
          </a:prstGeom>
          <a:ln>
            <a:headEnd type="none" w="med" len="med"/>
            <a:tailEnd type="triangle" w="med" len="med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TextBox 11"/>
          <p:cNvSpPr txBox="1"/>
          <p:nvPr/>
        </p:nvSpPr>
        <p:spPr>
          <a:xfrm>
            <a:off x="4499093" y="1019695"/>
            <a:ext cx="4286425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dirty="0" smtClean="0"/>
              <a:t>Example</a:t>
            </a:r>
            <a:r>
              <a:rPr lang="en-US" sz="2000" dirty="0" smtClean="0"/>
              <a:t>: residents leave their house for the evening</a:t>
            </a:r>
            <a:endParaRPr lang="en-US" sz="2000" dirty="0"/>
          </a:p>
        </p:txBody>
      </p:sp>
      <p:sp>
        <p:nvSpPr>
          <p:cNvPr id="13" name="TextBox 12"/>
          <p:cNvSpPr txBox="1"/>
          <p:nvPr/>
        </p:nvSpPr>
        <p:spPr>
          <a:xfrm>
            <a:off x="4499093" y="1728702"/>
            <a:ext cx="36775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 smtClean="0"/>
              <a:t>1. smart home decides to sell surplus energy</a:t>
            </a:r>
            <a:endParaRPr lang="en-US" sz="2000" dirty="0"/>
          </a:p>
        </p:txBody>
      </p:sp>
      <p:sp>
        <p:nvSpPr>
          <p:cNvPr id="14" name="TextBox 13"/>
          <p:cNvSpPr txBox="1"/>
          <p:nvPr/>
        </p:nvSpPr>
        <p:spPr>
          <a:xfrm>
            <a:off x="5108018" y="4199747"/>
            <a:ext cx="36775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 smtClean="0"/>
              <a:t>2. smart home posts offer to sell energy future</a:t>
            </a:r>
            <a:endParaRPr lang="en-US" sz="2000" dirty="0"/>
          </a:p>
        </p:txBody>
      </p:sp>
      <p:sp>
        <p:nvSpPr>
          <p:cNvPr id="17" name="TextBox 16"/>
          <p:cNvSpPr txBox="1"/>
          <p:nvPr/>
        </p:nvSpPr>
        <p:spPr>
          <a:xfrm>
            <a:off x="4604704" y="5011268"/>
            <a:ext cx="4420028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 smtClean="0"/>
              <a:t>3. other prosumers in the microgrid learn that the residents will not be home</a:t>
            </a:r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11532811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/>
      <p:bldP spid="13" grpId="0"/>
      <p:bldP spid="14" grpId="0"/>
      <p:bldP spid="17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5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5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3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7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6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4"/>
  <p:tag name="EE4P_TEMPLATEMASTER" val="1"/>
</p:tagLst>
</file>

<file path=ppt/theme/theme1.xml><?xml version="1.0" encoding="utf-8"?>
<a:theme xmlns:a="http://schemas.openxmlformats.org/drawingml/2006/main" name="MicrosoftCPSWorkshopDubey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BigData 2017 - Fangzhou Sun</Template>
  <TotalTime>2705</TotalTime>
  <Words>1441</Words>
  <Application>Microsoft Office PowerPoint</Application>
  <PresentationFormat>On-screen Show (4:3)</PresentationFormat>
  <Paragraphs>211</Paragraphs>
  <Slides>27</Slides>
  <Notes>11</Notes>
  <HiddenSlides>0</HiddenSlides>
  <MMClips>1</MMClips>
  <ScaleCrop>false</ScaleCrop>
  <HeadingPairs>
    <vt:vector size="6" baseType="variant">
      <vt:variant>
        <vt:lpstr>Fonts Used</vt:lpstr>
      </vt:variant>
      <vt:variant>
        <vt:i4>9</vt:i4>
      </vt:variant>
      <vt:variant>
        <vt:lpstr>Theme</vt:lpstr>
      </vt:variant>
      <vt:variant>
        <vt:i4>2</vt:i4>
      </vt:variant>
      <vt:variant>
        <vt:lpstr>Slide Titles</vt:lpstr>
      </vt:variant>
      <vt:variant>
        <vt:i4>27</vt:i4>
      </vt:variant>
    </vt:vector>
  </HeadingPairs>
  <TitlesOfParts>
    <vt:vector size="38" baseType="lpstr">
      <vt:lpstr>Arial Unicode MS</vt:lpstr>
      <vt:lpstr>Arial</vt:lpstr>
      <vt:lpstr>Avenir Book</vt:lpstr>
      <vt:lpstr>Avenir Next</vt:lpstr>
      <vt:lpstr>Calibri</vt:lpstr>
      <vt:lpstr>Calibri Light</vt:lpstr>
      <vt:lpstr>Verdana</vt:lpstr>
      <vt:lpstr>Wingdings</vt:lpstr>
      <vt:lpstr>ヒラギノ角ゴ Pro W3</vt:lpstr>
      <vt:lpstr>MicrosoftCPSWorkshopDubey</vt:lpstr>
      <vt:lpstr>Office Theme</vt:lpstr>
      <vt:lpstr>Providing Privacy, Safety, and Security  in IoT-Based Transactive Energy Systems using Distributed Ledgers </vt:lpstr>
      <vt:lpstr>Electrical Energy Networks are Changing</vt:lpstr>
      <vt:lpstr>The Evolution of Energy Networks</vt:lpstr>
      <vt:lpstr>The Evolution of Energy Networks</vt:lpstr>
      <vt:lpstr>The Evolution of Energy Networks</vt:lpstr>
      <vt:lpstr>Smart Homes with Production and Delayed Consumption Capability are the Key to this New Trend of Transactive Energy</vt:lpstr>
      <vt:lpstr>Transactive Energy: Smart Homes → Smart Prosumers</vt:lpstr>
      <vt:lpstr>Transactive Energy Challenges</vt:lpstr>
      <vt:lpstr>Focus Challenge: Privacy</vt:lpstr>
      <vt:lpstr>RIAPS: Our IoT Programming Architecture</vt:lpstr>
      <vt:lpstr>The PETra System Components</vt:lpstr>
      <vt:lpstr>PETra Trading Platform and  Distributed Ledger Architecture</vt:lpstr>
      <vt:lpstr>PETra Trading Platform and  Distributed Ledger Architecture</vt:lpstr>
      <vt:lpstr>PETra Trading Platform and  Distributed Ledger Architecture</vt:lpstr>
      <vt:lpstr>PETra Trading Platform and  Distributed Ledger Architecture</vt:lpstr>
      <vt:lpstr>PETra Trading Platform and  Distributed Ledger Architecture</vt:lpstr>
      <vt:lpstr>The PETra Protocol</vt:lpstr>
      <vt:lpstr>Security Assumptions</vt:lpstr>
      <vt:lpstr>Privacy Guarantees</vt:lpstr>
      <vt:lpstr>Energy Assets: PETra Key Concept</vt:lpstr>
      <vt:lpstr>Energy Assets: PETra Key Concept</vt:lpstr>
      <vt:lpstr>Energy Assets: PETra Key Concept</vt:lpstr>
      <vt:lpstr>Privacy Problem</vt:lpstr>
      <vt:lpstr>Solution: Mixing Services</vt:lpstr>
      <vt:lpstr>Full Trading Workflow (from Seller’s perspective)</vt:lpstr>
      <vt:lpstr>Evaluation</vt:lpstr>
      <vt:lpstr>Summary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abhishek</dc:creator>
  <cp:lastModifiedBy>abhishek</cp:lastModifiedBy>
  <cp:revision>623</cp:revision>
  <cp:lastPrinted>2016-02-14T23:03:40Z</cp:lastPrinted>
  <dcterms:created xsi:type="dcterms:W3CDTF">2016-02-12T23:39:17Z</dcterms:created>
  <dcterms:modified xsi:type="dcterms:W3CDTF">2017-10-24T13:03:44Z</dcterms:modified>
</cp:coreProperties>
</file>